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0" r:id="rId1"/>
  </p:sldMasterIdLst>
  <p:notesMasterIdLst>
    <p:notesMasterId r:id="rId4"/>
  </p:notesMasterIdLst>
  <p:handoutMasterIdLst>
    <p:handoutMasterId r:id="rId5"/>
  </p:handoutMasterIdLst>
  <p:sldIdLst>
    <p:sldId id="279" r:id="rId2"/>
    <p:sldId id="280" r:id="rId3"/>
  </p:sldIdLst>
  <p:sldSz cx="9144000" cy="6858000" type="screen4x3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rriet Kaol" initials="HK" lastIdx="62" clrIdx="0">
    <p:extLst/>
  </p:cmAuthor>
  <p:cmAuthor id="2" name="Harriet Kaol" initials="HK [2]" lastIdx="17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71F"/>
    <a:srgbClr val="753BBD"/>
    <a:srgbClr val="FBE122"/>
    <a:srgbClr val="C4D600"/>
    <a:srgbClr val="E31C79"/>
    <a:srgbClr val="DCDDDE"/>
    <a:srgbClr val="4D4D4D"/>
    <a:srgbClr val="00C1D5"/>
    <a:srgbClr val="414042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5711" autoAdjust="0"/>
  </p:normalViewPr>
  <p:slideViewPr>
    <p:cSldViewPr snapToGrid="0" showGuides="1">
      <p:cViewPr>
        <p:scale>
          <a:sx n="131" d="100"/>
          <a:sy n="131" d="100"/>
        </p:scale>
        <p:origin x="956" y="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12853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C8F6E3F-5497-42A4-A8DD-8F7AE83F89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74417D-6475-4F8A-8172-27106BD6321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DEF8FB-0C84-4D60-891C-040B53B6F399}" type="datetimeFigureOut">
              <a:rPr lang="en-GB" smtClean="0"/>
              <a:t>01/11/201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296BAD-493F-4CE3-883C-8CC5B195D82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A5574A-6BF4-46CA-BAFF-73A3F35C1BE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331941-BB9F-484F-A331-0C1C0B446D3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21277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A7B9DF-0EEB-4DF0-B42B-55B465E8594D}" type="datetimeFigureOut">
              <a:rPr lang="en-GB" smtClean="0"/>
              <a:t>01/11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71E324-BA30-4A6B-AA04-61936367BB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34830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rst Slide_Option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D0AAD64-0444-4A9C-98F0-E2326A8694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332" y="2945528"/>
            <a:ext cx="2807956" cy="618186"/>
          </a:xfrm>
          <a:prstGeom prst="rect">
            <a:avLst/>
          </a:prstGeom>
        </p:spPr>
      </p:pic>
      <p:pic>
        <p:nvPicPr>
          <p:cNvPr id="3" name="Graphic 6">
            <a:extLst>
              <a:ext uri="{FF2B5EF4-FFF2-40B4-BE49-F238E27FC236}">
                <a16:creationId xmlns:a16="http://schemas.microsoft.com/office/drawing/2014/main" id="{5581F8C3-2596-1846-8DE8-0708E7CC7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332" y="2945528"/>
            <a:ext cx="2807956" cy="61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663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_1/4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498" y="1447039"/>
            <a:ext cx="5342182" cy="75354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7498" y="2412048"/>
            <a:ext cx="5341202" cy="392207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E9E1B30-0EA4-4321-906D-606C21A440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0116" y="0"/>
            <a:ext cx="3053884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7864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_Bottom R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12FF75F-DB68-4543-ABE7-0050A60121E8}"/>
              </a:ext>
            </a:extLst>
          </p:cNvPr>
          <p:cNvSpPr/>
          <p:nvPr/>
        </p:nvSpPr>
        <p:spPr>
          <a:xfrm>
            <a:off x="4572000" y="0"/>
            <a:ext cx="4572000" cy="3428999"/>
          </a:xfrm>
          <a:prstGeom prst="rect">
            <a:avLst/>
          </a:prstGeom>
          <a:solidFill>
            <a:srgbClr val="FF67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137" y="512763"/>
            <a:ext cx="3536588" cy="543877"/>
          </a:xfrm>
        </p:spPr>
        <p:txBody>
          <a:bodyPr anchor="b" anchorCtr="0">
            <a:norm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8137" y="1188720"/>
            <a:ext cx="3535939" cy="2011679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spcAft>
                <a:spcPts val="200"/>
              </a:spcAft>
              <a:buNone/>
              <a:defRPr sz="1400">
                <a:solidFill>
                  <a:schemeClr val="bg1"/>
                </a:solidFill>
              </a:defRPr>
            </a:lvl1pPr>
            <a:lvl2pPr marL="342900" indent="0"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</a:defRPr>
            </a:lvl2pPr>
            <a:lvl3pPr marL="685800" indent="0"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3BAE3-2D06-45F9-998E-D9CFAB280B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8150" y="2298439"/>
            <a:ext cx="3910013" cy="1631950"/>
          </a:xfr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A1490AF-0525-48F2-A684-E6FAF961D4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3428998"/>
            <a:ext cx="4572000" cy="3429001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813D55B9-3E35-504A-8893-8E3517156FB5}"/>
              </a:ext>
            </a:extLst>
          </p:cNvPr>
          <p:cNvSpPr/>
          <p:nvPr userDrawn="1"/>
        </p:nvSpPr>
        <p:spPr>
          <a:xfrm>
            <a:off x="4572000" y="0"/>
            <a:ext cx="4572000" cy="3428999"/>
          </a:xfrm>
          <a:prstGeom prst="rect">
            <a:avLst/>
          </a:prstGeom>
          <a:solidFill>
            <a:srgbClr val="FF67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28835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_Upper R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12FF75F-DB68-4543-ABE7-0050A60121E8}"/>
              </a:ext>
            </a:extLst>
          </p:cNvPr>
          <p:cNvSpPr/>
          <p:nvPr/>
        </p:nvSpPr>
        <p:spPr>
          <a:xfrm>
            <a:off x="4572000" y="3429001"/>
            <a:ext cx="4572000" cy="3428999"/>
          </a:xfrm>
          <a:prstGeom prst="rect">
            <a:avLst/>
          </a:prstGeom>
          <a:solidFill>
            <a:srgbClr val="E31C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137" y="3765871"/>
            <a:ext cx="3536588" cy="543877"/>
          </a:xfrm>
        </p:spPr>
        <p:txBody>
          <a:bodyPr anchor="b" anchorCtr="0">
            <a:norm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8137" y="4441828"/>
            <a:ext cx="3535939" cy="2011679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spcAft>
                <a:spcPts val="200"/>
              </a:spcAft>
              <a:buNone/>
              <a:defRPr sz="1400">
                <a:solidFill>
                  <a:schemeClr val="bg1"/>
                </a:solidFill>
              </a:defRPr>
            </a:lvl1pPr>
            <a:lvl2pPr marL="342900" indent="0"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</a:defRPr>
            </a:lvl2pPr>
            <a:lvl3pPr marL="685800" indent="0"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3BAE3-2D06-45F9-998E-D9CFAB280B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5764" y="2298439"/>
            <a:ext cx="3910013" cy="513543"/>
          </a:xfr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A1490AF-0525-48F2-A684-E6FAF961D4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58035" y="-11"/>
            <a:ext cx="4572000" cy="3429001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15">
            <a:extLst>
              <a:ext uri="{FF2B5EF4-FFF2-40B4-BE49-F238E27FC236}">
                <a16:creationId xmlns:a16="http://schemas.microsoft.com/office/drawing/2014/main" id="{DDE78C41-E1DB-FD43-BED9-53B85C1FDA52}"/>
              </a:ext>
            </a:extLst>
          </p:cNvPr>
          <p:cNvSpPr/>
          <p:nvPr userDrawn="1"/>
        </p:nvSpPr>
        <p:spPr>
          <a:xfrm>
            <a:off x="4572000" y="3429001"/>
            <a:ext cx="4572000" cy="3428999"/>
          </a:xfrm>
          <a:prstGeom prst="rect">
            <a:avLst/>
          </a:prstGeom>
          <a:solidFill>
            <a:srgbClr val="E31C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89988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_Top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3BAE3-2D06-45F9-998E-D9CFAB280B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731" y="3393439"/>
            <a:ext cx="8270469" cy="557269"/>
          </a:xfr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A1490AF-0525-48F2-A684-E6FAF961D4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50" y="0"/>
            <a:ext cx="9144000" cy="2731508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4BB58F-C001-4563-AC1C-917D027A00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1731" y="4053841"/>
            <a:ext cx="8270469" cy="2280284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spcAft>
                <a:spcPts val="200"/>
              </a:spcAft>
              <a:buNone/>
              <a:defRPr sz="1400">
                <a:solidFill>
                  <a:schemeClr val="bg1"/>
                </a:solidFill>
              </a:defRPr>
            </a:lvl1pPr>
            <a:lvl2pPr marL="342900" indent="0"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</a:defRPr>
            </a:lvl2pPr>
            <a:lvl3pPr marL="685800" indent="0"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17745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Split Page 2 Blo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FE3A804A-1BC4-4540-9B3B-E2BDF438A82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732" y="225425"/>
            <a:ext cx="3672000" cy="827088"/>
          </a:xfrm>
        </p:spPr>
        <p:txBody>
          <a:bodyPr tIns="36000" rIns="0" bIns="36000" anchor="t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1732" y="1528381"/>
            <a:ext cx="3672000" cy="480574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A3A3FCE-6699-44C5-972A-C4A3FC46A015}"/>
              </a:ext>
            </a:extLst>
          </p:cNvPr>
          <p:cNvSpPr/>
          <p:nvPr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D89037B-CDEA-4D03-A9CD-049E361458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0200" y="1528381"/>
            <a:ext cx="3672000" cy="480574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0852E12-B191-493F-97FE-B3CF8080F6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40200" y="225425"/>
            <a:ext cx="3672000" cy="827088"/>
          </a:xfrm>
        </p:spPr>
        <p:txBody>
          <a:bodyPr tIns="36000" rIns="0" bIns="36000"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2F6E4D57-274F-4F4C-86A6-3D7EB7C16D62}"/>
              </a:ext>
            </a:extLst>
          </p:cNvPr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6141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Split Page 6 Blo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732" y="1528199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A3A3FCE-6699-44C5-972A-C4A3FC46A015}"/>
              </a:ext>
            </a:extLst>
          </p:cNvPr>
          <p:cNvSpPr/>
          <p:nvPr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0852E12-B191-493F-97FE-B3CF8080F6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40200" y="225425"/>
            <a:ext cx="3672000" cy="827088"/>
          </a:xfrm>
        </p:spPr>
        <p:txBody>
          <a:bodyPr tIns="36000" rIns="0" bIns="36000"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9D460CA0-C575-45FA-B144-8B05950750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732" y="1863539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5DA4BDE-6973-4F04-82D6-F5E21B74C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732" y="3189522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7FD3D4BE-07E4-4392-874E-32481E37DB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732" y="3527366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4E8338D-7DAB-4FF0-B564-B73A3E373C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1732" y="4855852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DD1D1EF-DD9C-4605-8322-E25BCD79EB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1732" y="5191192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D9CBDFE2-9030-4C82-AE9C-0029F7440A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33964" y="1528199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itle tex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F3BC588-D5D7-40A2-AB57-72AB189351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33964" y="1863539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66F8E026-6701-46E0-A678-2F444E2585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33964" y="3189522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2A13E0DC-BB23-49B5-A831-2A55036754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33964" y="3527366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C5CC3298-AD92-4ED4-9010-5A9FE976A9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33964" y="4855852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8C1D9EC9-DB18-4EE0-8C11-C77C4D8C3B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33964" y="5191192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9555E2AB-6FC5-4D6D-BD63-78D76C78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25426"/>
            <a:ext cx="3672000" cy="8270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5" name="Rectangle 1">
            <a:extLst>
              <a:ext uri="{FF2B5EF4-FFF2-40B4-BE49-F238E27FC236}">
                <a16:creationId xmlns:a16="http://schemas.microsoft.com/office/drawing/2014/main" id="{4075567E-5860-9E48-ABE7-2B92C99ACFB7}"/>
              </a:ext>
            </a:extLst>
          </p:cNvPr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569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_Option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89" y="225425"/>
            <a:ext cx="3672000" cy="827088"/>
          </a:xfrm>
        </p:spPr>
        <p:txBody>
          <a:bodyPr tIns="36000" rIns="0" bIns="36000" anchor="t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Agenda slide – click to add tit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0539" y="1520825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42B5191-6B60-42DF-AD51-7304EA85C1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02B51B-2D94-43B6-A77A-381FBF804547}"/>
              </a:ext>
            </a:extLst>
          </p:cNvPr>
          <p:cNvCxnSpPr>
            <a:cxnSpLocks/>
          </p:cNvCxnSpPr>
          <p:nvPr/>
        </p:nvCxnSpPr>
        <p:spPr>
          <a:xfrm flipV="1">
            <a:off x="431800" y="1520826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2CA6024-C358-473D-BDE4-005825A3B713}"/>
              </a:ext>
            </a:extLst>
          </p:cNvPr>
          <p:cNvCxnSpPr>
            <a:cxnSpLocks/>
          </p:cNvCxnSpPr>
          <p:nvPr/>
        </p:nvCxnSpPr>
        <p:spPr>
          <a:xfrm flipV="1">
            <a:off x="431800" y="1991573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4097FD2-5A26-463D-93A9-B751DFC15DEF}"/>
              </a:ext>
            </a:extLst>
          </p:cNvPr>
          <p:cNvCxnSpPr>
            <a:cxnSpLocks/>
          </p:cNvCxnSpPr>
          <p:nvPr/>
        </p:nvCxnSpPr>
        <p:spPr>
          <a:xfrm flipV="1">
            <a:off x="431800" y="2462320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A97D695-9634-40E5-BB4B-0EFAFA3AE429}"/>
              </a:ext>
            </a:extLst>
          </p:cNvPr>
          <p:cNvCxnSpPr>
            <a:cxnSpLocks/>
          </p:cNvCxnSpPr>
          <p:nvPr/>
        </p:nvCxnSpPr>
        <p:spPr>
          <a:xfrm flipV="1">
            <a:off x="431800" y="2933067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B4A3A10-ECB6-4E80-9557-609673692EFF}"/>
              </a:ext>
            </a:extLst>
          </p:cNvPr>
          <p:cNvCxnSpPr>
            <a:cxnSpLocks/>
          </p:cNvCxnSpPr>
          <p:nvPr/>
        </p:nvCxnSpPr>
        <p:spPr>
          <a:xfrm flipV="1">
            <a:off x="431800" y="3403814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3FF0274-D349-49A1-B755-8F42725671FF}"/>
              </a:ext>
            </a:extLst>
          </p:cNvPr>
          <p:cNvCxnSpPr>
            <a:cxnSpLocks/>
          </p:cNvCxnSpPr>
          <p:nvPr/>
        </p:nvCxnSpPr>
        <p:spPr>
          <a:xfrm flipV="1">
            <a:off x="431800" y="3874561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098B5B-D3F3-4484-BD0B-9C384FE6759B}"/>
              </a:ext>
            </a:extLst>
          </p:cNvPr>
          <p:cNvCxnSpPr>
            <a:cxnSpLocks/>
          </p:cNvCxnSpPr>
          <p:nvPr/>
        </p:nvCxnSpPr>
        <p:spPr>
          <a:xfrm flipV="1">
            <a:off x="431800" y="4345308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36159F6-5F93-4DD9-A957-516E165658F6}"/>
              </a:ext>
            </a:extLst>
          </p:cNvPr>
          <p:cNvCxnSpPr>
            <a:cxnSpLocks/>
          </p:cNvCxnSpPr>
          <p:nvPr/>
        </p:nvCxnSpPr>
        <p:spPr>
          <a:xfrm flipV="1">
            <a:off x="431800" y="4816055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821337E-F9B0-4965-B568-3C9DF7F93F37}"/>
              </a:ext>
            </a:extLst>
          </p:cNvPr>
          <p:cNvCxnSpPr>
            <a:cxnSpLocks/>
          </p:cNvCxnSpPr>
          <p:nvPr/>
        </p:nvCxnSpPr>
        <p:spPr>
          <a:xfrm flipV="1">
            <a:off x="431800" y="5286802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7C32D93-1E36-4480-AF90-2F2EAD913B6F}"/>
              </a:ext>
            </a:extLst>
          </p:cNvPr>
          <p:cNvCxnSpPr>
            <a:cxnSpLocks/>
          </p:cNvCxnSpPr>
          <p:nvPr/>
        </p:nvCxnSpPr>
        <p:spPr>
          <a:xfrm flipV="1">
            <a:off x="431800" y="5757546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E03DD87F-DFFA-45B8-B0FD-6C5C5EF04D1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0539" y="1768198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E5F81FFC-2BB1-4902-B109-697051585F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539" y="1984158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64" name="Text Placeholder 12">
            <a:extLst>
              <a:ext uri="{FF2B5EF4-FFF2-40B4-BE49-F238E27FC236}">
                <a16:creationId xmlns:a16="http://schemas.microsoft.com/office/drawing/2014/main" id="{31AC59B5-2B82-4FCF-B32E-ECB015E152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0539" y="2231531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65" name="Text Placeholder 12">
            <a:extLst>
              <a:ext uri="{FF2B5EF4-FFF2-40B4-BE49-F238E27FC236}">
                <a16:creationId xmlns:a16="http://schemas.microsoft.com/office/drawing/2014/main" id="{CF17F12C-7134-47A0-A888-64A1BFF0FF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0539" y="2462320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66" name="Text Placeholder 12">
            <a:extLst>
              <a:ext uri="{FF2B5EF4-FFF2-40B4-BE49-F238E27FC236}">
                <a16:creationId xmlns:a16="http://schemas.microsoft.com/office/drawing/2014/main" id="{56B5CD69-9036-431A-9B1C-98AB66498A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0539" y="2709693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67" name="Text Placeholder 12">
            <a:extLst>
              <a:ext uri="{FF2B5EF4-FFF2-40B4-BE49-F238E27FC236}">
                <a16:creationId xmlns:a16="http://schemas.microsoft.com/office/drawing/2014/main" id="{1B45C594-9DBA-483C-8F67-4ED219509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0539" y="2932024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68" name="Text Placeholder 12">
            <a:extLst>
              <a:ext uri="{FF2B5EF4-FFF2-40B4-BE49-F238E27FC236}">
                <a16:creationId xmlns:a16="http://schemas.microsoft.com/office/drawing/2014/main" id="{45FCB73C-1582-4821-BD7B-66A824B895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0539" y="3179397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69" name="Text Placeholder 12">
            <a:extLst>
              <a:ext uri="{FF2B5EF4-FFF2-40B4-BE49-F238E27FC236}">
                <a16:creationId xmlns:a16="http://schemas.microsoft.com/office/drawing/2014/main" id="{FAF61975-EB29-44AA-8D83-BAEB5E4C027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0539" y="3396399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F36FCF88-C92C-41D9-8758-67950BED8B0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0539" y="3643772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F3959762-F443-413B-82AD-CFB5B66D3D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0539" y="3867146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267C6799-EB0A-496E-B699-2A4C154580A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0539" y="4114519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8FBF1D38-DAA0-401A-A68B-1F0BF65115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0539" y="4350025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75" name="Text Placeholder 12">
            <a:extLst>
              <a:ext uri="{FF2B5EF4-FFF2-40B4-BE49-F238E27FC236}">
                <a16:creationId xmlns:a16="http://schemas.microsoft.com/office/drawing/2014/main" id="{82829290-4DAD-45E6-9147-EA0BB294A85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0539" y="4597398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76" name="Text Placeholder 12">
            <a:extLst>
              <a:ext uri="{FF2B5EF4-FFF2-40B4-BE49-F238E27FC236}">
                <a16:creationId xmlns:a16="http://schemas.microsoft.com/office/drawing/2014/main" id="{FDAAD010-79CE-48E2-B3DC-C74633CC938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0539" y="4816055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77" name="Text Placeholder 12">
            <a:extLst>
              <a:ext uri="{FF2B5EF4-FFF2-40B4-BE49-F238E27FC236}">
                <a16:creationId xmlns:a16="http://schemas.microsoft.com/office/drawing/2014/main" id="{77BC6703-601F-4B5A-B003-9CAC0E5B35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0539" y="5063428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78" name="Text Placeholder 12">
            <a:extLst>
              <a:ext uri="{FF2B5EF4-FFF2-40B4-BE49-F238E27FC236}">
                <a16:creationId xmlns:a16="http://schemas.microsoft.com/office/drawing/2014/main" id="{076D1AAD-B887-41B2-9E08-30A8CF45FEA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0539" y="5286802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79" name="Text Placeholder 12">
            <a:extLst>
              <a:ext uri="{FF2B5EF4-FFF2-40B4-BE49-F238E27FC236}">
                <a16:creationId xmlns:a16="http://schemas.microsoft.com/office/drawing/2014/main" id="{6C4932C9-6C4A-4194-8CF4-1C0DB4BDD25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0539" y="5534175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80" name="Text Placeholder 12">
            <a:extLst>
              <a:ext uri="{FF2B5EF4-FFF2-40B4-BE49-F238E27FC236}">
                <a16:creationId xmlns:a16="http://schemas.microsoft.com/office/drawing/2014/main" id="{B2FE6FC0-CB43-4AAE-B336-3CE070FC7E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0539" y="5750228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81" name="Text Placeholder 12">
            <a:extLst>
              <a:ext uri="{FF2B5EF4-FFF2-40B4-BE49-F238E27FC236}">
                <a16:creationId xmlns:a16="http://schemas.microsoft.com/office/drawing/2014/main" id="{3F38658B-C9CD-4461-827D-A42BE183DC5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10539" y="5997601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cxnSp>
        <p:nvCxnSpPr>
          <p:cNvPr id="36" name="Straight Connector 9">
            <a:extLst>
              <a:ext uri="{FF2B5EF4-FFF2-40B4-BE49-F238E27FC236}">
                <a16:creationId xmlns:a16="http://schemas.microsoft.com/office/drawing/2014/main" id="{D229738D-4E35-264F-9A0A-02CED84DB8B7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1520826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28">
            <a:extLst>
              <a:ext uri="{FF2B5EF4-FFF2-40B4-BE49-F238E27FC236}">
                <a16:creationId xmlns:a16="http://schemas.microsoft.com/office/drawing/2014/main" id="{0AFA5992-9AF1-C24A-9424-E8028B92E71C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1991573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0">
            <a:extLst>
              <a:ext uri="{FF2B5EF4-FFF2-40B4-BE49-F238E27FC236}">
                <a16:creationId xmlns:a16="http://schemas.microsoft.com/office/drawing/2014/main" id="{08673B7F-2E41-1343-B6B6-DB3B3F49DC96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2462320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32">
            <a:extLst>
              <a:ext uri="{FF2B5EF4-FFF2-40B4-BE49-F238E27FC236}">
                <a16:creationId xmlns:a16="http://schemas.microsoft.com/office/drawing/2014/main" id="{A8C2301D-F628-4D40-B445-89FBD31CD3A2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2933067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34">
            <a:extLst>
              <a:ext uri="{FF2B5EF4-FFF2-40B4-BE49-F238E27FC236}">
                <a16:creationId xmlns:a16="http://schemas.microsoft.com/office/drawing/2014/main" id="{24D5AFAC-1465-AA46-9997-84A97EBFAEA8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3403814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22892D77-FBC5-964B-854F-C248C2C1DEE6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3874561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38">
            <a:extLst>
              <a:ext uri="{FF2B5EF4-FFF2-40B4-BE49-F238E27FC236}">
                <a16:creationId xmlns:a16="http://schemas.microsoft.com/office/drawing/2014/main" id="{2037AD58-FB73-284D-8BFA-2ECCC32D5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4345308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0">
            <a:extLst>
              <a:ext uri="{FF2B5EF4-FFF2-40B4-BE49-F238E27FC236}">
                <a16:creationId xmlns:a16="http://schemas.microsoft.com/office/drawing/2014/main" id="{0DBA882B-7242-F342-81A8-055CCEC209A7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4816055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8">
            <a:extLst>
              <a:ext uri="{FF2B5EF4-FFF2-40B4-BE49-F238E27FC236}">
                <a16:creationId xmlns:a16="http://schemas.microsoft.com/office/drawing/2014/main" id="{6AD8C663-9184-4249-B1CB-0085C92821E2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5286802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50">
            <a:extLst>
              <a:ext uri="{FF2B5EF4-FFF2-40B4-BE49-F238E27FC236}">
                <a16:creationId xmlns:a16="http://schemas.microsoft.com/office/drawing/2014/main" id="{A5E8E825-68B3-A743-8A57-F98514BCCA21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5757546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603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80B4A0-CD53-4928-A3CD-02AD0A945159}"/>
              </a:ext>
            </a:extLst>
          </p:cNvPr>
          <p:cNvSpPr/>
          <p:nvPr/>
        </p:nvSpPr>
        <p:spPr>
          <a:xfrm>
            <a:off x="0" y="4627880"/>
            <a:ext cx="9144000" cy="22301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4A18715-1688-48D6-A174-F05AB1B3F6B9}"/>
              </a:ext>
            </a:extLst>
          </p:cNvPr>
          <p:cNvCxnSpPr/>
          <p:nvPr/>
        </p:nvCxnSpPr>
        <p:spPr>
          <a:xfrm>
            <a:off x="431800" y="510780"/>
            <a:ext cx="50863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8492EA8C-D915-4EEE-A512-41735A9D91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31750" y="2315608"/>
            <a:ext cx="3880500" cy="854312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DCBA4450-D9D1-4D10-8AA5-FB2DEE2BC18D}"/>
              </a:ext>
            </a:extLst>
          </p:cNvPr>
          <p:cNvSpPr txBox="1">
            <a:spLocks/>
          </p:cNvSpPr>
          <p:nvPr/>
        </p:nvSpPr>
        <p:spPr>
          <a:xfrm>
            <a:off x="431800" y="678419"/>
            <a:ext cx="3916045" cy="73247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C9ECC061-40A4-E247-87B3-78C4FFE3687B}"/>
              </a:ext>
            </a:extLst>
          </p:cNvPr>
          <p:cNvSpPr/>
          <p:nvPr userDrawn="1"/>
        </p:nvSpPr>
        <p:spPr>
          <a:xfrm>
            <a:off x="0" y="4627880"/>
            <a:ext cx="9144000" cy="22301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3026B931-58CB-374C-A134-7FBFFFD6F86B}"/>
              </a:ext>
            </a:extLst>
          </p:cNvPr>
          <p:cNvCxnSpPr/>
          <p:nvPr userDrawn="1"/>
        </p:nvCxnSpPr>
        <p:spPr>
          <a:xfrm>
            <a:off x="431800" y="510780"/>
            <a:ext cx="50863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10">
            <a:extLst>
              <a:ext uri="{FF2B5EF4-FFF2-40B4-BE49-F238E27FC236}">
                <a16:creationId xmlns:a16="http://schemas.microsoft.com/office/drawing/2014/main" id="{8E18F0FF-0132-2040-BC47-D6E5907410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31750" y="2315608"/>
            <a:ext cx="3880500" cy="85431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D5851ED4-6180-DC4F-87D3-28B03CC02D22}"/>
              </a:ext>
            </a:extLst>
          </p:cNvPr>
          <p:cNvSpPr txBox="1">
            <a:spLocks/>
          </p:cNvSpPr>
          <p:nvPr userDrawn="1"/>
        </p:nvSpPr>
        <p:spPr>
          <a:xfrm>
            <a:off x="431800" y="678419"/>
            <a:ext cx="3916045" cy="73247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31897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Option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D0AAD64-0444-4A9C-98F0-E2326A8694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8844" y="2873396"/>
            <a:ext cx="5026308" cy="1106568"/>
          </a:xfrm>
          <a:prstGeom prst="rect">
            <a:avLst/>
          </a:prstGeom>
        </p:spPr>
      </p:pic>
      <p:pic>
        <p:nvPicPr>
          <p:cNvPr id="3" name="Graphic 6">
            <a:extLst>
              <a:ext uri="{FF2B5EF4-FFF2-40B4-BE49-F238E27FC236}">
                <a16:creationId xmlns:a16="http://schemas.microsoft.com/office/drawing/2014/main" id="{4A316084-9E3A-BC44-A781-3F5CA60677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8844" y="2873396"/>
            <a:ext cx="5026308" cy="1106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8912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Option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492EA8C-D915-4EEE-A512-41735A9D91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8845" y="2875716"/>
            <a:ext cx="5026310" cy="1106568"/>
          </a:xfrm>
          <a:prstGeom prst="rect">
            <a:avLst/>
          </a:prstGeom>
        </p:spPr>
      </p:pic>
      <p:pic>
        <p:nvPicPr>
          <p:cNvPr id="3" name="Graphic 10">
            <a:extLst>
              <a:ext uri="{FF2B5EF4-FFF2-40B4-BE49-F238E27FC236}">
                <a16:creationId xmlns:a16="http://schemas.microsoft.com/office/drawing/2014/main" id="{AC5891F6-1858-CC4A-BE6E-78CFB0661B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8845" y="2875716"/>
            <a:ext cx="5026310" cy="1106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158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rst Slide_Option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ADBD9E53-C35C-413B-931F-C9C86DCBA2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552" y="2915315"/>
            <a:ext cx="2802268" cy="618186"/>
          </a:xfrm>
          <a:prstGeom prst="rect">
            <a:avLst/>
          </a:prstGeom>
        </p:spPr>
      </p:pic>
      <p:pic>
        <p:nvPicPr>
          <p:cNvPr id="3" name="Graphic 3">
            <a:extLst>
              <a:ext uri="{FF2B5EF4-FFF2-40B4-BE49-F238E27FC236}">
                <a16:creationId xmlns:a16="http://schemas.microsoft.com/office/drawing/2014/main" id="{850224E6-6110-9445-ACEC-812112A812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552" y="2915315"/>
            <a:ext cx="2802268" cy="61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5369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rst Slide_Option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D0AAD64-0444-4A9C-98F0-E2326A86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332" y="2945528"/>
            <a:ext cx="2807956" cy="61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5938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rst Slide_Option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ADBD9E53-C35C-413B-931F-C9C86DCBA2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552" y="2915315"/>
            <a:ext cx="2802268" cy="61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9300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Option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D0AAD64-0444-4A9C-98F0-E2326A86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209" y="1052513"/>
            <a:ext cx="2802268" cy="61818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CB9B803-061F-4511-8CE4-9EAF8F9B0E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909" y="2642234"/>
            <a:ext cx="3916045" cy="732473"/>
          </a:xfrm>
        </p:spPr>
        <p:txBody>
          <a:bodyPr anchor="t" anchorCtr="0">
            <a:noAutofit/>
          </a:bodyPr>
          <a:lstStyle>
            <a:lvl1pPr algn="l"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here to add title</a:t>
            </a:r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EBB6A9E-980F-4902-AB75-95F68733D9C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9909" y="3505518"/>
            <a:ext cx="3916045" cy="30321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lvl="0"/>
            <a:r>
              <a:rPr lang="en-US" dirty="0"/>
              <a:t>Click to edit presenter nam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4AC6B4-F413-49E7-B434-F6E4362C54E5}"/>
              </a:ext>
            </a:extLst>
          </p:cNvPr>
          <p:cNvCxnSpPr/>
          <p:nvPr userDrawn="1"/>
        </p:nvCxnSpPr>
        <p:spPr>
          <a:xfrm>
            <a:off x="427209" y="2489835"/>
            <a:ext cx="50863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A4866A52-0F32-4E62-BC87-F93D0ADED92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9E9E1A-D715-423D-B4F1-C026B2CA43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9909" y="3808731"/>
            <a:ext cx="2424112" cy="303212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31077786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Option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D0AAD64-0444-4A9C-98F0-E2326A86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209" y="1052513"/>
            <a:ext cx="2802268" cy="61818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CB9B803-061F-4511-8CE4-9EAF8F9B0E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909" y="2642234"/>
            <a:ext cx="3916045" cy="732473"/>
          </a:xfrm>
        </p:spPr>
        <p:txBody>
          <a:bodyPr anchor="t" anchorCtr="0">
            <a:noAutofit/>
          </a:bodyPr>
          <a:lstStyle>
            <a:lvl1pPr algn="l">
              <a:defRPr sz="28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here to add title</a:t>
            </a:r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EBB6A9E-980F-4902-AB75-95F68733D9C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9909" y="3505518"/>
            <a:ext cx="3916045" cy="31598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1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lvl="0"/>
            <a:r>
              <a:rPr lang="en-US" dirty="0"/>
              <a:t>Click to edit presenter nam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4AC6B4-F413-49E7-B434-F6E4362C54E5}"/>
              </a:ext>
            </a:extLst>
          </p:cNvPr>
          <p:cNvCxnSpPr/>
          <p:nvPr userDrawn="1"/>
        </p:nvCxnSpPr>
        <p:spPr>
          <a:xfrm>
            <a:off x="427209" y="2489835"/>
            <a:ext cx="50863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DA681753-E348-499E-893B-4B6D3127D4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419577-6E32-4CF1-95C3-A78824675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9738" y="3898900"/>
            <a:ext cx="2389726" cy="2413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Click to enter date</a:t>
            </a:r>
          </a:p>
        </p:txBody>
      </p:sp>
    </p:spTree>
    <p:extLst>
      <p:ext uri="{BB962C8B-B14F-4D97-AF65-F5344CB8AC3E}">
        <p14:creationId xmlns:p14="http://schemas.microsoft.com/office/powerpoint/2010/main" val="2787182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lide_Option 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3BAE3-2D06-45F9-998E-D9CFAB280B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731" y="4687390"/>
            <a:ext cx="8270469" cy="557269"/>
          </a:xfr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A1490AF-0525-48F2-A684-E6FAF961D4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50" y="0"/>
            <a:ext cx="9144000" cy="4278702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4BB58F-C001-4563-AC1C-917D027A00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1732" y="5347793"/>
            <a:ext cx="5234450" cy="284162"/>
          </a:xfrm>
        </p:spPr>
        <p:txBody>
          <a:bodyPr>
            <a:noAutofit/>
          </a:bodyPr>
          <a:lstStyle>
            <a:lvl1pPr marL="0" indent="0">
              <a:spcBef>
                <a:spcPts val="200"/>
              </a:spcBef>
              <a:spcAft>
                <a:spcPts val="200"/>
              </a:spcAft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</a:defRPr>
            </a:lvl2pPr>
            <a:lvl3pPr marL="685800" indent="0"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here to add name of presenter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4CAF8A-6DD5-421C-AF27-DD518DECB2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289" y="5649207"/>
            <a:ext cx="2508909" cy="284162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here to add dat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9B1BD35-9B4D-4E3A-A4DD-5AF8231992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90637" y="6288426"/>
            <a:ext cx="1499679" cy="330162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175BB3-713C-4D31-8B16-BD286475CAB1}"/>
              </a:ext>
            </a:extLst>
          </p:cNvPr>
          <p:cNvCxnSpPr/>
          <p:nvPr userDrawn="1"/>
        </p:nvCxnSpPr>
        <p:spPr>
          <a:xfrm>
            <a:off x="441731" y="4586053"/>
            <a:ext cx="50863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40623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89" y="3128344"/>
            <a:ext cx="8346795" cy="75354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B31D993-981B-4190-9FE9-FFC6BC87C5FC}"/>
              </a:ext>
            </a:extLst>
          </p:cNvPr>
          <p:cNvCxnSpPr/>
          <p:nvPr userDrawn="1"/>
        </p:nvCxnSpPr>
        <p:spPr>
          <a:xfrm>
            <a:off x="449289" y="2993367"/>
            <a:ext cx="100584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13429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-Read/Divider Option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F01A4F9B-757C-4821-A3F5-5B039DE1EFA7}"/>
              </a:ext>
            </a:extLst>
          </p:cNvPr>
          <p:cNvSpPr/>
          <p:nvPr userDrawn="1"/>
        </p:nvSpPr>
        <p:spPr>
          <a:xfrm>
            <a:off x="4572000" y="0"/>
            <a:ext cx="4572000" cy="68579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786F2D-676B-4748-B2F7-29B6ECA103B7}"/>
              </a:ext>
            </a:extLst>
          </p:cNvPr>
          <p:cNvSpPr/>
          <p:nvPr userDrawn="1"/>
        </p:nvSpPr>
        <p:spPr>
          <a:xfrm>
            <a:off x="4553701" y="11"/>
            <a:ext cx="198120" cy="6857989"/>
          </a:xfrm>
          <a:prstGeom prst="rect">
            <a:avLst/>
          </a:prstGeom>
          <a:solidFill>
            <a:srgbClr val="00C1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6FCDD06-423E-4BB5-A9E2-DC96D29283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332" y="2945528"/>
            <a:ext cx="2807956" cy="618186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137" y="1447039"/>
            <a:ext cx="3536588" cy="75354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00C1D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8785" y="2412048"/>
            <a:ext cx="3535939" cy="3922077"/>
          </a:xfrm>
        </p:spPr>
        <p:txBody>
          <a:bodyPr/>
          <a:lstStyle>
            <a:lvl1pPr marL="0" indent="0">
              <a:buNone/>
              <a:defRPr>
                <a:solidFill>
                  <a:srgbClr val="00C1D5"/>
                </a:solidFill>
              </a:defRPr>
            </a:lvl1pPr>
            <a:lvl2pPr marL="342900" indent="0">
              <a:buNone/>
              <a:defRPr>
                <a:solidFill>
                  <a:srgbClr val="00C1D5"/>
                </a:solidFill>
              </a:defRPr>
            </a:lvl2pPr>
            <a:lvl3pPr marL="685800" indent="0">
              <a:buNone/>
              <a:defRPr>
                <a:solidFill>
                  <a:srgbClr val="00C1D5"/>
                </a:solidFill>
              </a:defRPr>
            </a:lvl3pPr>
            <a:lvl4pPr marL="1028700" indent="0">
              <a:buNone/>
              <a:defRPr>
                <a:solidFill>
                  <a:srgbClr val="00C1D5"/>
                </a:solidFill>
              </a:defRPr>
            </a:lvl4pPr>
            <a:lvl5pPr marL="1371600" indent="0">
              <a:buNone/>
              <a:defRPr>
                <a:solidFill>
                  <a:srgbClr val="00C1D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64875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-Read/Divider Option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EAD17F-F6B8-4628-803F-D1D64EB95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EAD17F-F6B8-4628-803F-D1D64EB95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D883EAB-0333-4509-9085-8F311778F51D}"/>
              </a:ext>
            </a:extLst>
          </p:cNvPr>
          <p:cNvSpPr/>
          <p:nvPr/>
        </p:nvSpPr>
        <p:spPr>
          <a:xfrm>
            <a:off x="4572000" y="0"/>
            <a:ext cx="4592320" cy="68579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January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DBA09-DC57-4B4D-BB5D-576AB99441F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5332" y="2945528"/>
            <a:ext cx="2807956" cy="618186"/>
          </a:xfrm>
          <a:prstGeom prst="rect">
            <a:avLst/>
          </a:prstGeom>
        </p:spPr>
      </p:pic>
      <p:sp>
        <p:nvSpPr>
          <p:cNvPr id="12" name="Title 6">
            <a:extLst>
              <a:ext uri="{FF2B5EF4-FFF2-40B4-BE49-F238E27FC236}">
                <a16:creationId xmlns:a16="http://schemas.microsoft.com/office/drawing/2014/main" id="{C712DE84-AC07-4C98-A343-AC3BF21B8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137" y="1031404"/>
            <a:ext cx="3536588" cy="75354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FB336EB-0129-4CA8-8304-4F08954C82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8785" y="1854414"/>
            <a:ext cx="3535939" cy="4452474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spcAft>
                <a:spcPts val="200"/>
              </a:spcAft>
              <a:buNone/>
              <a:defRPr sz="1400">
                <a:solidFill>
                  <a:schemeClr val="tx2"/>
                </a:solidFill>
              </a:defRPr>
            </a:lvl1pPr>
            <a:lvl2pPr marL="342900" indent="0"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tx2"/>
                </a:solidFill>
              </a:defRPr>
            </a:lvl2pPr>
            <a:lvl3pPr marL="685800" indent="0"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tx2"/>
                </a:solidFill>
              </a:defRPr>
            </a:lvl3pPr>
            <a:lvl4pPr marL="10287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tx2"/>
                </a:solidFill>
              </a:defRPr>
            </a:lvl4pPr>
            <a:lvl5pPr marL="13716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0933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_1/2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501" y="1447039"/>
            <a:ext cx="3808803" cy="75354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7501" y="2412048"/>
            <a:ext cx="3808104" cy="392207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E9E1B30-0EA4-4321-906D-606C21A440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7669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_1/4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498" y="1447039"/>
            <a:ext cx="5342182" cy="75354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7498" y="2412048"/>
            <a:ext cx="5341202" cy="392207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E9E1B30-0EA4-4321-906D-606C21A440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0116" y="0"/>
            <a:ext cx="3053884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1833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_Option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D0AAD64-0444-4A9C-98F0-E2326A8694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209" y="1052513"/>
            <a:ext cx="2802268" cy="61818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CB9B803-061F-4511-8CE4-9EAF8F9B0E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909" y="2642234"/>
            <a:ext cx="3916045" cy="732473"/>
          </a:xfrm>
        </p:spPr>
        <p:txBody>
          <a:bodyPr anchor="t" anchorCtr="0">
            <a:noAutofit/>
          </a:bodyPr>
          <a:lstStyle>
            <a:lvl1pPr algn="l"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here to add title</a:t>
            </a:r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EBB6A9E-980F-4902-AB75-95F68733D9C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9909" y="3505518"/>
            <a:ext cx="3916045" cy="30321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lvl="0"/>
            <a:r>
              <a:rPr lang="en-US" dirty="0"/>
              <a:t>Click to edit presenter nam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4AC6B4-F413-49E7-B434-F6E4362C54E5}"/>
              </a:ext>
            </a:extLst>
          </p:cNvPr>
          <p:cNvCxnSpPr/>
          <p:nvPr/>
        </p:nvCxnSpPr>
        <p:spPr>
          <a:xfrm>
            <a:off x="427209" y="2489835"/>
            <a:ext cx="50863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A4866A52-0F32-4E62-BC87-F93D0ADED92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9E9E1A-D715-423D-B4F1-C026B2CA43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9909" y="3808731"/>
            <a:ext cx="2424112" cy="303212"/>
          </a:xfrm>
        </p:spPr>
        <p:txBody>
          <a:bodyPr>
            <a:no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9" name="Graphic 6">
            <a:extLst>
              <a:ext uri="{FF2B5EF4-FFF2-40B4-BE49-F238E27FC236}">
                <a16:creationId xmlns:a16="http://schemas.microsoft.com/office/drawing/2014/main" id="{C8F8D41E-A5EB-A848-9A4A-5A5686CFFE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209" y="1052513"/>
            <a:ext cx="2802268" cy="618186"/>
          </a:xfrm>
          <a:prstGeom prst="rect">
            <a:avLst/>
          </a:prstGeom>
        </p:spPr>
      </p:pic>
      <p:cxnSp>
        <p:nvCxnSpPr>
          <p:cNvPr id="11" name="Straight Connector 9">
            <a:extLst>
              <a:ext uri="{FF2B5EF4-FFF2-40B4-BE49-F238E27FC236}">
                <a16:creationId xmlns:a16="http://schemas.microsoft.com/office/drawing/2014/main" id="{5387B333-FFF9-8C4F-81D1-CEAF97E16F24}"/>
              </a:ext>
            </a:extLst>
          </p:cNvPr>
          <p:cNvCxnSpPr/>
          <p:nvPr userDrawn="1"/>
        </p:nvCxnSpPr>
        <p:spPr>
          <a:xfrm>
            <a:off x="427209" y="2489835"/>
            <a:ext cx="50863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9810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_Bottom R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12FF75F-DB68-4543-ABE7-0050A60121E8}"/>
              </a:ext>
            </a:extLst>
          </p:cNvPr>
          <p:cNvSpPr/>
          <p:nvPr userDrawn="1"/>
        </p:nvSpPr>
        <p:spPr>
          <a:xfrm>
            <a:off x="4572000" y="0"/>
            <a:ext cx="4572000" cy="3428999"/>
          </a:xfrm>
          <a:prstGeom prst="rect">
            <a:avLst/>
          </a:prstGeom>
          <a:solidFill>
            <a:srgbClr val="FF67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137" y="512763"/>
            <a:ext cx="3536588" cy="543877"/>
          </a:xfrm>
        </p:spPr>
        <p:txBody>
          <a:bodyPr anchor="b" anchorCtr="0">
            <a:norm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8137" y="1188720"/>
            <a:ext cx="3535939" cy="2011679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spcAft>
                <a:spcPts val="200"/>
              </a:spcAft>
              <a:buNone/>
              <a:defRPr sz="1400">
                <a:solidFill>
                  <a:schemeClr val="bg1"/>
                </a:solidFill>
              </a:defRPr>
            </a:lvl1pPr>
            <a:lvl2pPr marL="342900" indent="0"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</a:defRPr>
            </a:lvl2pPr>
            <a:lvl3pPr marL="685800" indent="0"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3BAE3-2D06-45F9-998E-D9CFAB280B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8150" y="2298439"/>
            <a:ext cx="3910013" cy="1631950"/>
          </a:xfr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A1490AF-0525-48F2-A684-E6FAF961D4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3428998"/>
            <a:ext cx="4572000" cy="3429001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65628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_Upper R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12FF75F-DB68-4543-ABE7-0050A60121E8}"/>
              </a:ext>
            </a:extLst>
          </p:cNvPr>
          <p:cNvSpPr/>
          <p:nvPr userDrawn="1"/>
        </p:nvSpPr>
        <p:spPr>
          <a:xfrm>
            <a:off x="4572000" y="3429001"/>
            <a:ext cx="4572000" cy="3428999"/>
          </a:xfrm>
          <a:prstGeom prst="rect">
            <a:avLst/>
          </a:prstGeom>
          <a:solidFill>
            <a:srgbClr val="E31C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137" y="3765871"/>
            <a:ext cx="3536588" cy="543877"/>
          </a:xfrm>
        </p:spPr>
        <p:txBody>
          <a:bodyPr anchor="b" anchorCtr="0">
            <a:norm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8137" y="4441828"/>
            <a:ext cx="3535939" cy="2011679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spcAft>
                <a:spcPts val="200"/>
              </a:spcAft>
              <a:buNone/>
              <a:defRPr sz="1400">
                <a:solidFill>
                  <a:schemeClr val="bg1"/>
                </a:solidFill>
              </a:defRPr>
            </a:lvl1pPr>
            <a:lvl2pPr marL="342900" indent="0"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</a:defRPr>
            </a:lvl2pPr>
            <a:lvl3pPr marL="685800" indent="0"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3BAE3-2D06-45F9-998E-D9CFAB280B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5764" y="2298439"/>
            <a:ext cx="3910013" cy="513543"/>
          </a:xfr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A1490AF-0525-48F2-A684-E6FAF961D4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58035" y="-11"/>
            <a:ext cx="4572000" cy="3429001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41286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_Top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3BAE3-2D06-45F9-998E-D9CFAB280B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731" y="3393439"/>
            <a:ext cx="8270469" cy="557269"/>
          </a:xfr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A1490AF-0525-48F2-A684-E6FAF961D4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50" y="0"/>
            <a:ext cx="9144000" cy="2731508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4BB58F-C001-4563-AC1C-917D027A00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1731" y="4053841"/>
            <a:ext cx="8270469" cy="2280284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spcAft>
                <a:spcPts val="200"/>
              </a:spcAft>
              <a:buNone/>
              <a:defRPr sz="1400">
                <a:solidFill>
                  <a:schemeClr val="bg1"/>
                </a:solidFill>
              </a:defRPr>
            </a:lvl1pPr>
            <a:lvl2pPr marL="342900" indent="0"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</a:defRPr>
            </a:lvl2pPr>
            <a:lvl3pPr marL="685800" indent="0"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14943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plit Page 2 Blo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FE3A804A-1BC4-4540-9B3B-E2BDF438A82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732" y="225425"/>
            <a:ext cx="3672000" cy="827088"/>
          </a:xfrm>
        </p:spPr>
        <p:txBody>
          <a:bodyPr tIns="36000" rIns="0" bIns="36000" anchor="t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1732" y="1528381"/>
            <a:ext cx="3672000" cy="480574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A3A3FCE-6699-44C5-972A-C4A3FC46A015}"/>
              </a:ext>
            </a:extLst>
          </p:cNvPr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D89037B-CDEA-4D03-A9CD-049E361458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0200" y="1528381"/>
            <a:ext cx="3672000" cy="480574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0852E12-B191-493F-97FE-B3CF8080F6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40200" y="225425"/>
            <a:ext cx="3672000" cy="827088"/>
          </a:xfrm>
        </p:spPr>
        <p:txBody>
          <a:bodyPr tIns="36000" rIns="0" bIns="36000"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64782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plit Page 6 Blo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732" y="1528199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A3A3FCE-6699-44C5-972A-C4A3FC46A015}"/>
              </a:ext>
            </a:extLst>
          </p:cNvPr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0852E12-B191-493F-97FE-B3CF8080F6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40200" y="225425"/>
            <a:ext cx="3672000" cy="827088"/>
          </a:xfrm>
        </p:spPr>
        <p:txBody>
          <a:bodyPr tIns="36000" rIns="0" bIns="36000"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9D460CA0-C575-45FA-B144-8B05950750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732" y="1863539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5DA4BDE-6973-4F04-82D6-F5E21B74C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732" y="3189522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7FD3D4BE-07E4-4392-874E-32481E37DB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732" y="3527366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4E8338D-7DAB-4FF0-B564-B73A3E373C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1732" y="4855852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DD1D1EF-DD9C-4605-8322-E25BCD79EB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1732" y="5191192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accent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D9CBDFE2-9030-4C82-AE9C-0029F7440A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33964" y="1528199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itle tex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F3BC588-D5D7-40A2-AB57-72AB189351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33964" y="1863539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66F8E026-6701-46E0-A678-2F444E2585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33964" y="3189522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2A13E0DC-BB23-49B5-A831-2A55036754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33964" y="3527366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C5CC3298-AD92-4ED4-9010-5A9FE976A9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33964" y="4855852"/>
            <a:ext cx="3672000" cy="26347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8C1D9EC9-DB18-4EE0-8C11-C77C4D8C3B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33964" y="5191192"/>
            <a:ext cx="3672000" cy="11419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accent1"/>
                </a:solidFill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accent1"/>
                </a:solidFill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9555E2AB-6FC5-4D6D-BD63-78D76C78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25426"/>
            <a:ext cx="3672000" cy="8270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52947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Option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89" y="225425"/>
            <a:ext cx="3672000" cy="827088"/>
          </a:xfrm>
        </p:spPr>
        <p:txBody>
          <a:bodyPr tIns="36000" rIns="0" bIns="36000" anchor="t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Agenda slide – click to add tit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0539" y="1520825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42B5191-6B60-42DF-AD51-7304EA85C1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02B51B-2D94-43B6-A77A-381FBF804547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1520826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2CA6024-C358-473D-BDE4-005825A3B713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1991573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4097FD2-5A26-463D-93A9-B751DFC15DEF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2462320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A97D695-9634-40E5-BB4B-0EFAFA3AE429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2933067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B4A3A10-ECB6-4E80-9557-609673692EFF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3403814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3FF0274-D349-49A1-B755-8F42725671FF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3874561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098B5B-D3F3-4484-BD0B-9C384FE6759B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4345308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36159F6-5F93-4DD9-A957-516E165658F6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4816055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821337E-F9B0-4965-B568-3C9DF7F93F37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5286802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7C32D93-1E36-4480-AF90-2F2EAD913B6F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5757546"/>
            <a:ext cx="0" cy="38671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E03DD87F-DFFA-45B8-B0FD-6C5C5EF04D1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0539" y="1768198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63" name="Text Placeholder 12">
            <a:extLst>
              <a:ext uri="{FF2B5EF4-FFF2-40B4-BE49-F238E27FC236}">
                <a16:creationId xmlns:a16="http://schemas.microsoft.com/office/drawing/2014/main" id="{E5F81FFC-2BB1-4902-B109-697051585F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539" y="1984158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64" name="Text Placeholder 12">
            <a:extLst>
              <a:ext uri="{FF2B5EF4-FFF2-40B4-BE49-F238E27FC236}">
                <a16:creationId xmlns:a16="http://schemas.microsoft.com/office/drawing/2014/main" id="{31AC59B5-2B82-4FCF-B32E-ECB015E152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0539" y="2231531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65" name="Text Placeholder 12">
            <a:extLst>
              <a:ext uri="{FF2B5EF4-FFF2-40B4-BE49-F238E27FC236}">
                <a16:creationId xmlns:a16="http://schemas.microsoft.com/office/drawing/2014/main" id="{CF17F12C-7134-47A0-A888-64A1BFF0FF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0539" y="2462320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66" name="Text Placeholder 12">
            <a:extLst>
              <a:ext uri="{FF2B5EF4-FFF2-40B4-BE49-F238E27FC236}">
                <a16:creationId xmlns:a16="http://schemas.microsoft.com/office/drawing/2014/main" id="{56B5CD69-9036-431A-9B1C-98AB66498A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0539" y="2709693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67" name="Text Placeholder 12">
            <a:extLst>
              <a:ext uri="{FF2B5EF4-FFF2-40B4-BE49-F238E27FC236}">
                <a16:creationId xmlns:a16="http://schemas.microsoft.com/office/drawing/2014/main" id="{1B45C594-9DBA-483C-8F67-4ED219509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0539" y="2932024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68" name="Text Placeholder 12">
            <a:extLst>
              <a:ext uri="{FF2B5EF4-FFF2-40B4-BE49-F238E27FC236}">
                <a16:creationId xmlns:a16="http://schemas.microsoft.com/office/drawing/2014/main" id="{45FCB73C-1582-4821-BD7B-66A824B895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0539" y="3179397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69" name="Text Placeholder 12">
            <a:extLst>
              <a:ext uri="{FF2B5EF4-FFF2-40B4-BE49-F238E27FC236}">
                <a16:creationId xmlns:a16="http://schemas.microsoft.com/office/drawing/2014/main" id="{FAF61975-EB29-44AA-8D83-BAEB5E4C027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0539" y="3396399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F36FCF88-C92C-41D9-8758-67950BED8B0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0539" y="3643772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71" name="Text Placeholder 12">
            <a:extLst>
              <a:ext uri="{FF2B5EF4-FFF2-40B4-BE49-F238E27FC236}">
                <a16:creationId xmlns:a16="http://schemas.microsoft.com/office/drawing/2014/main" id="{F3959762-F443-413B-82AD-CFB5B66D3D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0539" y="3867146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267C6799-EB0A-496E-B699-2A4C154580A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0539" y="4114519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74" name="Text Placeholder 12">
            <a:extLst>
              <a:ext uri="{FF2B5EF4-FFF2-40B4-BE49-F238E27FC236}">
                <a16:creationId xmlns:a16="http://schemas.microsoft.com/office/drawing/2014/main" id="{8FBF1D38-DAA0-401A-A68B-1F0BF65115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0539" y="4350025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75" name="Text Placeholder 12">
            <a:extLst>
              <a:ext uri="{FF2B5EF4-FFF2-40B4-BE49-F238E27FC236}">
                <a16:creationId xmlns:a16="http://schemas.microsoft.com/office/drawing/2014/main" id="{82829290-4DAD-45E6-9147-EA0BB294A85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0539" y="4597398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76" name="Text Placeholder 12">
            <a:extLst>
              <a:ext uri="{FF2B5EF4-FFF2-40B4-BE49-F238E27FC236}">
                <a16:creationId xmlns:a16="http://schemas.microsoft.com/office/drawing/2014/main" id="{FDAAD010-79CE-48E2-B3DC-C74633CC938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0539" y="4816055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77" name="Text Placeholder 12">
            <a:extLst>
              <a:ext uri="{FF2B5EF4-FFF2-40B4-BE49-F238E27FC236}">
                <a16:creationId xmlns:a16="http://schemas.microsoft.com/office/drawing/2014/main" id="{77BC6703-601F-4B5A-B003-9CAC0E5B35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0539" y="5063428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78" name="Text Placeholder 12">
            <a:extLst>
              <a:ext uri="{FF2B5EF4-FFF2-40B4-BE49-F238E27FC236}">
                <a16:creationId xmlns:a16="http://schemas.microsoft.com/office/drawing/2014/main" id="{076D1AAD-B887-41B2-9E08-30A8CF45FEA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0539" y="5286802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79" name="Text Placeholder 12">
            <a:extLst>
              <a:ext uri="{FF2B5EF4-FFF2-40B4-BE49-F238E27FC236}">
                <a16:creationId xmlns:a16="http://schemas.microsoft.com/office/drawing/2014/main" id="{6C4932C9-6C4A-4194-8CF4-1C0DB4BDD25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0539" y="5534175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80" name="Text Placeholder 12">
            <a:extLst>
              <a:ext uri="{FF2B5EF4-FFF2-40B4-BE49-F238E27FC236}">
                <a16:creationId xmlns:a16="http://schemas.microsoft.com/office/drawing/2014/main" id="{B2FE6FC0-CB43-4AAE-B336-3CE070FC7E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0539" y="5750228"/>
            <a:ext cx="3610749" cy="247373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81" name="Text Placeholder 12">
            <a:extLst>
              <a:ext uri="{FF2B5EF4-FFF2-40B4-BE49-F238E27FC236}">
                <a16:creationId xmlns:a16="http://schemas.microsoft.com/office/drawing/2014/main" id="{3F38658B-C9CD-4461-827D-A42BE183DC5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10539" y="5997601"/>
            <a:ext cx="3610749" cy="146757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</p:spTree>
    <p:extLst>
      <p:ext uri="{BB962C8B-B14F-4D97-AF65-F5344CB8AC3E}">
        <p14:creationId xmlns:p14="http://schemas.microsoft.com/office/powerpoint/2010/main" val="1788553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Option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89" y="225425"/>
            <a:ext cx="3672000" cy="827088"/>
          </a:xfrm>
        </p:spPr>
        <p:txBody>
          <a:bodyPr tIns="36000" rIns="0" bIns="36000" anchor="t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Agenda slide – click to add titl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42B5191-6B60-42DF-AD51-7304EA85C1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02B51B-2D94-43B6-A77A-381FBF804547}"/>
              </a:ext>
            </a:extLst>
          </p:cNvPr>
          <p:cNvCxnSpPr>
            <a:cxnSpLocks/>
          </p:cNvCxnSpPr>
          <p:nvPr userDrawn="1"/>
        </p:nvCxnSpPr>
        <p:spPr>
          <a:xfrm>
            <a:off x="431800" y="1520824"/>
            <a:ext cx="0" cy="47629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708EDBA-75FD-4D9A-85BC-3D296F141488}"/>
              </a:ext>
            </a:extLst>
          </p:cNvPr>
          <p:cNvCxnSpPr>
            <a:cxnSpLocks/>
          </p:cNvCxnSpPr>
          <p:nvPr userDrawn="1"/>
        </p:nvCxnSpPr>
        <p:spPr>
          <a:xfrm>
            <a:off x="431800" y="2076721"/>
            <a:ext cx="0" cy="47629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E3AD2AA-FC74-4EDE-A187-B4564C54118C}"/>
              </a:ext>
            </a:extLst>
          </p:cNvPr>
          <p:cNvCxnSpPr>
            <a:cxnSpLocks/>
          </p:cNvCxnSpPr>
          <p:nvPr userDrawn="1"/>
        </p:nvCxnSpPr>
        <p:spPr>
          <a:xfrm>
            <a:off x="431800" y="2632618"/>
            <a:ext cx="0" cy="47629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BD8A453-3E52-47C7-8D9E-5ACB6E653752}"/>
              </a:ext>
            </a:extLst>
          </p:cNvPr>
          <p:cNvCxnSpPr>
            <a:cxnSpLocks/>
          </p:cNvCxnSpPr>
          <p:nvPr userDrawn="1"/>
        </p:nvCxnSpPr>
        <p:spPr>
          <a:xfrm>
            <a:off x="431800" y="3188515"/>
            <a:ext cx="0" cy="47629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9C9ACB7-447B-4996-B23D-37FC3A2E920A}"/>
              </a:ext>
            </a:extLst>
          </p:cNvPr>
          <p:cNvCxnSpPr>
            <a:cxnSpLocks/>
          </p:cNvCxnSpPr>
          <p:nvPr userDrawn="1"/>
        </p:nvCxnSpPr>
        <p:spPr>
          <a:xfrm>
            <a:off x="431800" y="3744412"/>
            <a:ext cx="0" cy="47629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2C5A64C9-33AE-4A93-9C6D-72006E59F48C}"/>
              </a:ext>
            </a:extLst>
          </p:cNvPr>
          <p:cNvCxnSpPr>
            <a:cxnSpLocks/>
          </p:cNvCxnSpPr>
          <p:nvPr userDrawn="1"/>
        </p:nvCxnSpPr>
        <p:spPr>
          <a:xfrm>
            <a:off x="431800" y="4300309"/>
            <a:ext cx="0" cy="47629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95AAFEA-6D9E-4CB2-8540-D8CE70FC2E54}"/>
              </a:ext>
            </a:extLst>
          </p:cNvPr>
          <p:cNvCxnSpPr>
            <a:cxnSpLocks/>
          </p:cNvCxnSpPr>
          <p:nvPr userDrawn="1"/>
        </p:nvCxnSpPr>
        <p:spPr>
          <a:xfrm>
            <a:off x="431800" y="4856206"/>
            <a:ext cx="0" cy="47629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01CF800-6E10-4994-865D-EBC3EB77DC38}"/>
              </a:ext>
            </a:extLst>
          </p:cNvPr>
          <p:cNvCxnSpPr>
            <a:cxnSpLocks/>
          </p:cNvCxnSpPr>
          <p:nvPr userDrawn="1"/>
        </p:nvCxnSpPr>
        <p:spPr>
          <a:xfrm>
            <a:off x="431800" y="5412104"/>
            <a:ext cx="0" cy="47629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A4114C78-305E-4C12-BE35-79D0923014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0540" y="1478479"/>
            <a:ext cx="3610749" cy="289720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23DE4F97-D066-4F01-A16B-30465D436C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0540" y="1774136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8944066D-37E3-4137-A57B-3A6362B0CD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540" y="2045977"/>
            <a:ext cx="3610749" cy="289720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BEC012BE-A1E4-43F7-9CA8-B7D6C0A5236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0540" y="2342382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AB2B230F-D1F7-4BD9-B66C-BFA7127C01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0540" y="2595462"/>
            <a:ext cx="3610749" cy="289720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583018F0-B5A6-4087-A127-8BED8BD98F1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0540" y="2891867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B8BB217D-190B-48A6-8760-47FCA90EDB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0540" y="3156830"/>
            <a:ext cx="3610749" cy="289720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44094663-389B-4CDA-B348-4EE9DF838A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0540" y="3453235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CB36D077-DCD0-48B2-BC28-58F3143B9F7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0540" y="3706780"/>
            <a:ext cx="3610749" cy="289720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2B2EAE28-244E-4321-B9C9-C6DC296DEC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0540" y="4003185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E87CB8E3-057C-40A7-AC72-4BA807FFA6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0540" y="4261703"/>
            <a:ext cx="3610749" cy="289720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153D72C6-59F0-4107-91AA-CC6E7908CCC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0540" y="4557360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163654EA-CEA8-498A-BD64-51868CF36B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0540" y="4820325"/>
            <a:ext cx="3610749" cy="289720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A468E014-96A5-4DA1-841F-AC0F5C64342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0540" y="5115982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2ABCE2BB-BDEB-4F92-86E7-F1880FDE70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0540" y="5381361"/>
            <a:ext cx="3610749" cy="289720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BA048D26-1B21-47EC-8FA4-57DF99501D9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0540" y="5677018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</p:spTree>
    <p:extLst>
      <p:ext uri="{BB962C8B-B14F-4D97-AF65-F5344CB8AC3E}">
        <p14:creationId xmlns:p14="http://schemas.microsoft.com/office/powerpoint/2010/main" val="1863240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Option 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89" y="225425"/>
            <a:ext cx="3672000" cy="827088"/>
          </a:xfrm>
        </p:spPr>
        <p:txBody>
          <a:bodyPr tIns="36000" rIns="0" bIns="36000" anchor="t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Agenda slide – click to add title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42B5191-6B60-42DF-AD51-7304EA85C1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58034" y="0"/>
            <a:ext cx="4585963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02B51B-2D94-43B6-A77A-381FBF804547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1520826"/>
            <a:ext cx="0" cy="63097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984D669-95C2-43F6-BEBD-4133A15A7D8A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2297050"/>
            <a:ext cx="0" cy="63097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1726E13-0BEB-4555-BEBE-338F1B711101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3073274"/>
            <a:ext cx="0" cy="63097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77C0F42-58CF-4F8A-82AE-BFBF2C8570F0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3849498"/>
            <a:ext cx="0" cy="63097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6079D86-4D2D-4F0D-9B3B-831624447646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4625722"/>
            <a:ext cx="0" cy="63097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5D34E0F-85B7-4497-8DDD-CEA5B6B07AE7}"/>
              </a:ext>
            </a:extLst>
          </p:cNvPr>
          <p:cNvCxnSpPr>
            <a:cxnSpLocks/>
          </p:cNvCxnSpPr>
          <p:nvPr userDrawn="1"/>
        </p:nvCxnSpPr>
        <p:spPr>
          <a:xfrm flipV="1">
            <a:off x="431800" y="5401946"/>
            <a:ext cx="0" cy="63097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531E3C4D-0C8E-4640-B43B-8AFC68A485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0540" y="1580248"/>
            <a:ext cx="3610749" cy="2770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5AC4F768-0999-4A6E-9F3A-E62997A063F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0540" y="1863201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7EFA7BA4-B1A7-40AC-B498-26048584B5C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540" y="2355308"/>
            <a:ext cx="3610749" cy="2770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710E15DE-509B-4ECE-8AD4-3C092BDE8AE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0540" y="2638261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42" name="Text Placeholder 12">
            <a:extLst>
              <a:ext uri="{FF2B5EF4-FFF2-40B4-BE49-F238E27FC236}">
                <a16:creationId xmlns:a16="http://schemas.microsoft.com/office/drawing/2014/main" id="{A18DAB42-4A70-4086-9C97-BA27357677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0540" y="3133271"/>
            <a:ext cx="3610749" cy="2770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D0C94748-0FF2-455D-AD2F-C7D60CB5A98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0540" y="3416224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2451BCBD-58D9-4793-A793-E0CB6540DA3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0540" y="3896502"/>
            <a:ext cx="3610749" cy="2770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78FB7698-194D-41FD-94DE-E65534EF6A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0540" y="4179455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46" name="Text Placeholder 12">
            <a:extLst>
              <a:ext uri="{FF2B5EF4-FFF2-40B4-BE49-F238E27FC236}">
                <a16:creationId xmlns:a16="http://schemas.microsoft.com/office/drawing/2014/main" id="{C43BEC2C-4168-423F-9168-537C87F479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0540" y="4680917"/>
            <a:ext cx="3610749" cy="2770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B5A565D5-5170-4459-85CF-3EB21608833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0540" y="4963870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43D0E57F-7638-4613-B829-E1276E9C413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0540" y="5443586"/>
            <a:ext cx="3610749" cy="277016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time her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D6D7B13A-924D-47E7-85EA-A6659028F1A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0540" y="5726539"/>
            <a:ext cx="3610749" cy="21111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  <a:latin typeface="+mn-lt"/>
              </a:defRPr>
            </a:lvl2pPr>
            <a:lvl3pPr marL="6858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10287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4pPr>
            <a:lvl5pPr marL="137160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9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Insert agenda item title here</a:t>
            </a:r>
          </a:p>
        </p:txBody>
      </p:sp>
    </p:spTree>
    <p:extLst>
      <p:ext uri="{BB962C8B-B14F-4D97-AF65-F5344CB8AC3E}">
        <p14:creationId xmlns:p14="http://schemas.microsoft.com/office/powerpoint/2010/main" val="39013674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80B4A0-CD53-4928-A3CD-02AD0A945159}"/>
              </a:ext>
            </a:extLst>
          </p:cNvPr>
          <p:cNvSpPr/>
          <p:nvPr userDrawn="1"/>
        </p:nvSpPr>
        <p:spPr>
          <a:xfrm>
            <a:off x="0" y="4627880"/>
            <a:ext cx="9144000" cy="22301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4A18715-1688-48D6-A174-F05AB1B3F6B9}"/>
              </a:ext>
            </a:extLst>
          </p:cNvPr>
          <p:cNvCxnSpPr/>
          <p:nvPr userDrawn="1"/>
        </p:nvCxnSpPr>
        <p:spPr>
          <a:xfrm>
            <a:off x="431800" y="510780"/>
            <a:ext cx="50863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8492EA8C-D915-4EEE-A512-41735A9D91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31750" y="2315608"/>
            <a:ext cx="3880500" cy="854312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DCBA4450-D9D1-4D10-8AA5-FB2DEE2BC18D}"/>
              </a:ext>
            </a:extLst>
          </p:cNvPr>
          <p:cNvSpPr txBox="1">
            <a:spLocks/>
          </p:cNvSpPr>
          <p:nvPr userDrawn="1"/>
        </p:nvSpPr>
        <p:spPr>
          <a:xfrm>
            <a:off x="431800" y="678419"/>
            <a:ext cx="3916045" cy="73247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0702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 Option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D0AAD64-0444-4A9C-98F0-E2326A86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8844" y="2873396"/>
            <a:ext cx="5026308" cy="1106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020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_Option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D0AAD64-0444-4A9C-98F0-E2326A8694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209" y="1052513"/>
            <a:ext cx="2802268" cy="61818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CB9B803-061F-4511-8CE4-9EAF8F9B0E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9909" y="2642234"/>
            <a:ext cx="3916045" cy="732473"/>
          </a:xfrm>
        </p:spPr>
        <p:txBody>
          <a:bodyPr anchor="t" anchorCtr="0">
            <a:noAutofit/>
          </a:bodyPr>
          <a:lstStyle>
            <a:lvl1pPr algn="l">
              <a:defRPr sz="28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here to add title</a:t>
            </a:r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EBB6A9E-980F-4902-AB75-95F68733D9C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9909" y="3505518"/>
            <a:ext cx="3916045" cy="31598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400" b="1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lvl="0"/>
            <a:r>
              <a:rPr lang="en-US" dirty="0"/>
              <a:t>Click to edit presenter nam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4AC6B4-F413-49E7-B434-F6E4362C54E5}"/>
              </a:ext>
            </a:extLst>
          </p:cNvPr>
          <p:cNvCxnSpPr/>
          <p:nvPr/>
        </p:nvCxnSpPr>
        <p:spPr>
          <a:xfrm>
            <a:off x="427209" y="2489835"/>
            <a:ext cx="50863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DA681753-E348-499E-893B-4B6D3127D4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419577-6E32-4CF1-95C3-A78824675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9738" y="3898900"/>
            <a:ext cx="2389726" cy="2413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Click to enter date</a:t>
            </a:r>
          </a:p>
        </p:txBody>
      </p:sp>
      <p:pic>
        <p:nvPicPr>
          <p:cNvPr id="9" name="Graphic 6">
            <a:extLst>
              <a:ext uri="{FF2B5EF4-FFF2-40B4-BE49-F238E27FC236}">
                <a16:creationId xmlns:a16="http://schemas.microsoft.com/office/drawing/2014/main" id="{B69C7661-562C-CD47-9A1C-50B1E0A326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209" y="1052513"/>
            <a:ext cx="2802268" cy="618186"/>
          </a:xfrm>
          <a:prstGeom prst="rect">
            <a:avLst/>
          </a:prstGeom>
        </p:spPr>
      </p:pic>
      <p:cxnSp>
        <p:nvCxnSpPr>
          <p:cNvPr id="12" name="Straight Connector 9">
            <a:extLst>
              <a:ext uri="{FF2B5EF4-FFF2-40B4-BE49-F238E27FC236}">
                <a16:creationId xmlns:a16="http://schemas.microsoft.com/office/drawing/2014/main" id="{9B85178D-ECA7-8343-9872-674D6D58B4C3}"/>
              </a:ext>
            </a:extLst>
          </p:cNvPr>
          <p:cNvCxnSpPr/>
          <p:nvPr userDrawn="1"/>
        </p:nvCxnSpPr>
        <p:spPr>
          <a:xfrm>
            <a:off x="427209" y="2489835"/>
            <a:ext cx="50863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50956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 Option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492EA8C-D915-4EEE-A512-41735A9D91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8845" y="2875716"/>
            <a:ext cx="5026310" cy="1106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410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EFEA5F-8F68-486C-BECD-2B1996EB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8D6434-F6E9-41DA-9B63-02FFB22B0D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BD0666-CE76-433E-B2DD-98FA36748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26E487C-5620-4E2A-A099-C9B524E332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9357" y="1520826"/>
            <a:ext cx="8280399" cy="48133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800"/>
            </a:lvl1pPr>
            <a:lvl2pPr marL="514350" indent="-171450">
              <a:buFont typeface="Arial" panose="020B0604020202020204" pitchFamily="34" charset="0"/>
              <a:buChar char="•"/>
              <a:defRPr sz="1800"/>
            </a:lvl2pPr>
            <a:lvl3pPr marL="857250" indent="-171450">
              <a:buFont typeface="Arial" panose="020B0604020202020204" pitchFamily="34" charset="0"/>
              <a:buChar char="•"/>
              <a:defRPr sz="1800"/>
            </a:lvl3pPr>
            <a:lvl4pPr marL="1200150" indent="-171450">
              <a:buFont typeface="Arial" panose="020B0604020202020204" pitchFamily="34" charset="0"/>
              <a:buChar char="•"/>
              <a:defRPr sz="1800"/>
            </a:lvl4pPr>
            <a:lvl5pPr marL="1543050" indent="-171450"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7" name="Graphic 23">
            <a:extLst>
              <a:ext uri="{FF2B5EF4-FFF2-40B4-BE49-F238E27FC236}">
                <a16:creationId xmlns:a16="http://schemas.microsoft.com/office/drawing/2014/main" id="{74191580-4342-1A43-9958-1BB14785B9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4944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Right hand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9D03B3-D2F0-4FC1-B22F-B5405BDA90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9906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9D03B3-D2F0-4FC1-B22F-B5405BDA90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DDFF7AA-0B2B-40BD-BBDE-A1157103D8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7549" y="1533741"/>
            <a:ext cx="0" cy="4800383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4CFF49-0AE2-42E9-AC8B-F061A05C89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72042" y="1520825"/>
            <a:ext cx="2240157" cy="4813300"/>
          </a:xfrm>
        </p:spPr>
        <p:txBody>
          <a:bodyPr vert="horz" lIns="0" tIns="45720" rIns="0" bIns="45720" rtlCol="0">
            <a:noAutofit/>
          </a:bodyPr>
          <a:lstStyle>
            <a:lvl1pPr marL="0" indent="0">
              <a:buNone/>
              <a:defRPr lang="en-US" sz="1600" b="1" dirty="0" smtClean="0">
                <a:solidFill>
                  <a:srgbClr val="89D4E3"/>
                </a:solidFill>
              </a:defRPr>
            </a:lvl1pPr>
            <a:lvl2pPr marL="342900" indent="0">
              <a:buNone/>
              <a:defRPr lang="en-US" sz="1200" b="1" dirty="0" smtClean="0">
                <a:solidFill>
                  <a:srgbClr val="89D4E3"/>
                </a:solidFill>
              </a:defRPr>
            </a:lvl2pPr>
            <a:lvl3pPr marL="685800" indent="0">
              <a:buNone/>
              <a:defRPr lang="en-US" sz="1100" b="1" dirty="0" smtClean="0">
                <a:solidFill>
                  <a:srgbClr val="89D4E3"/>
                </a:solidFill>
              </a:defRPr>
            </a:lvl3pPr>
            <a:lvl4pPr marL="1028700" indent="0">
              <a:buNone/>
              <a:defRPr lang="en-US" sz="1050" b="1" dirty="0" smtClean="0">
                <a:solidFill>
                  <a:srgbClr val="89D4E3"/>
                </a:solidFill>
              </a:defRPr>
            </a:lvl4pPr>
            <a:lvl5pPr marL="1371600" indent="0">
              <a:buNone/>
              <a:defRPr lang="en-GB" sz="1050" b="1" dirty="0">
                <a:solidFill>
                  <a:srgbClr val="89D4E3"/>
                </a:solidFill>
              </a:defRPr>
            </a:lvl5pPr>
          </a:lstStyle>
          <a:p>
            <a:pPr marL="171450" lvl="0" indent="-171450"/>
            <a:r>
              <a:rPr lang="en-US"/>
              <a:t>Edit Master text styles</a:t>
            </a:r>
          </a:p>
          <a:p>
            <a:pPr marL="171450" lvl="1" indent="-171450"/>
            <a:r>
              <a:rPr lang="en-US"/>
              <a:t>Second level</a:t>
            </a:r>
          </a:p>
          <a:p>
            <a:pPr marL="171450" lvl="2" indent="-171450"/>
            <a:r>
              <a:rPr lang="en-US"/>
              <a:t>Third level</a:t>
            </a:r>
          </a:p>
          <a:p>
            <a:pPr marL="171450" lvl="3" indent="-171450"/>
            <a:r>
              <a:rPr lang="en-US"/>
              <a:t>Fourth level</a:t>
            </a:r>
          </a:p>
          <a:p>
            <a:pPr marL="171450" lvl="4" indent="-171450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06A0F9-AD3A-406B-BF05-A6CF5830A3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EC11F53-9A91-4E13-9BA7-B69ADDB1CA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9358" y="1520826"/>
            <a:ext cx="5725568" cy="48133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2" name="Graphic 23">
            <a:extLst>
              <a:ext uri="{FF2B5EF4-FFF2-40B4-BE49-F238E27FC236}">
                <a16:creationId xmlns:a16="http://schemas.microsoft.com/office/drawing/2014/main" id="{1BEF72DB-2456-A149-B2A7-9084DB8B102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8951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EFEA5F-8F68-486C-BECD-2B1996EB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8D6434-F6E9-41DA-9B63-02FFB22B0D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BD0666-CE76-433E-B2DD-98FA36748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6" name="Graphic 23">
            <a:extLst>
              <a:ext uri="{FF2B5EF4-FFF2-40B4-BE49-F238E27FC236}">
                <a16:creationId xmlns:a16="http://schemas.microsoft.com/office/drawing/2014/main" id="{B678147C-A76D-EF4F-A44E-DA34A606CB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514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9BD88E-D050-440C-B341-735FA2A93F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onfidential | Month 2018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66BA39-3B89-49A8-8942-F63A308402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Graphic 23">
            <a:extLst>
              <a:ext uri="{FF2B5EF4-FFF2-40B4-BE49-F238E27FC236}">
                <a16:creationId xmlns:a16="http://schemas.microsoft.com/office/drawing/2014/main" id="{66E54C20-90B8-1D40-AF29-4796250F02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7362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Op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EF3EFE-AE2F-457E-AE0B-F32A40717FA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1800" y="1520825"/>
            <a:ext cx="8280400" cy="4813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23">
            <a:extLst>
              <a:ext uri="{FF2B5EF4-FFF2-40B4-BE49-F238E27FC236}">
                <a16:creationId xmlns:a16="http://schemas.microsoft.com/office/drawing/2014/main" id="{8F66161D-7E5F-6E47-A34B-7E3A9CF62A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2265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1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C87C435-4E6B-4346-947A-EF108D62E8F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6648" y="1526064"/>
            <a:ext cx="8280000" cy="352424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100" b="1"/>
            </a:lvl2pPr>
            <a:lvl3pPr marL="685800" indent="0">
              <a:buNone/>
              <a:defRPr sz="1050" b="1"/>
            </a:lvl3pPr>
            <a:lvl4pPr marL="1028700" indent="0">
              <a:buNone/>
              <a:defRPr sz="1000" b="1"/>
            </a:lvl4pPr>
            <a:lvl5pPr marL="1371600" indent="0">
              <a:buNone/>
              <a:defRPr sz="1000" b="1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FD40118-8CEB-4DDF-8ED1-8DD2913BA1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649" y="2029792"/>
            <a:ext cx="8280400" cy="430216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CC481C0-24B0-464F-8BEB-FB5585461E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4576849" y="-2185499"/>
            <a:ext cx="0" cy="8280399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12" name="Graphic 23">
            <a:extLst>
              <a:ext uri="{FF2B5EF4-FFF2-40B4-BE49-F238E27FC236}">
                <a16:creationId xmlns:a16="http://schemas.microsoft.com/office/drawing/2014/main" id="{5D281403-DB4C-8B43-A544-D09172DB03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1393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Bulle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EFEA5F-8F68-486C-BECD-2B1996EB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8D6434-F6E9-41DA-9B63-02FFB22B0D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BD0666-CE76-433E-B2DD-98FA36748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26E487C-5620-4E2A-A099-C9B524E332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987" y="1520826"/>
            <a:ext cx="3941383" cy="48133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  <a:lvl2pPr marL="514350" indent="-171450">
              <a:buFont typeface="Arial" panose="020B0604020202020204" pitchFamily="34" charset="0"/>
              <a:buChar char="•"/>
              <a:defRPr sz="1200"/>
            </a:lvl2pPr>
            <a:lvl3pPr marL="857250" indent="-171450">
              <a:buFont typeface="Arial" panose="020B0604020202020204" pitchFamily="34" charset="0"/>
              <a:buChar char="•"/>
              <a:defRPr sz="1200"/>
            </a:lvl3pPr>
            <a:lvl4pPr marL="1200150" indent="-171450">
              <a:buFont typeface="Arial" panose="020B0604020202020204" pitchFamily="34" charset="0"/>
              <a:buChar char="•"/>
              <a:defRPr sz="1200"/>
            </a:lvl4pPr>
            <a:lvl5pPr marL="15430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DEE66B-BF45-44FF-A21B-2EB0433BFB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67630" y="1520825"/>
            <a:ext cx="4044570" cy="48133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2DF11F4-C8A5-453D-8BFD-C38767CA85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646" y="1533741"/>
            <a:ext cx="0" cy="4800383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2602F90-1F93-49C4-A95D-9A6388CC37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3071" y="1533741"/>
            <a:ext cx="0" cy="4800383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9" name="Graphic 23">
            <a:extLst>
              <a:ext uri="{FF2B5EF4-FFF2-40B4-BE49-F238E27FC236}">
                <a16:creationId xmlns:a16="http://schemas.microsoft.com/office/drawing/2014/main" id="{237655A2-3CB4-D346-869E-3AFE139DA5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8978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/3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41F1E46F-A2F1-4E7D-B137-A08802ED5CF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601852" y="1526063"/>
            <a:ext cx="2110347" cy="364299"/>
          </a:xfrm>
        </p:spPr>
        <p:txBody>
          <a:bodyPr>
            <a:noAutofit/>
          </a:bodyPr>
          <a:lstStyle>
            <a:lvl1pPr>
              <a:defRPr lang="en-GB" sz="1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BFA87C0C-ADB9-47E1-9DD4-EB104C81B92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6650" y="1526063"/>
            <a:ext cx="5932800" cy="364299"/>
          </a:xfrm>
        </p:spPr>
        <p:txBody>
          <a:bodyPr>
            <a:noAutofit/>
          </a:bodyPr>
          <a:lstStyle>
            <a:lvl1pPr>
              <a:defRPr lang="en-GB" sz="1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D154B57-85C2-4FB1-A99F-568BCA158A2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650" y="2029792"/>
            <a:ext cx="5930839" cy="430215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7698F5A-34DB-4E23-A91B-D7E8426B0B2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601852" y="2029791"/>
            <a:ext cx="2105498" cy="43021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0A822C7-70CF-4B99-A29F-F7706ADAA4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3403050" y="-1011700"/>
            <a:ext cx="0" cy="59328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1179E398-7E39-4979-8EF9-13558466161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7657399" y="899900"/>
            <a:ext cx="0" cy="210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14" name="Graphic 23">
            <a:extLst>
              <a:ext uri="{FF2B5EF4-FFF2-40B4-BE49-F238E27FC236}">
                <a16:creationId xmlns:a16="http://schemas.microsoft.com/office/drawing/2014/main" id="{A369D730-99CA-3946-A5FE-B69C289ACA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5841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/3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0D78F0C-20F3-43E8-A199-7E8512D98C8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6650" y="1526063"/>
            <a:ext cx="2109600" cy="364299"/>
          </a:xfrm>
        </p:spPr>
        <p:txBody>
          <a:bodyPr>
            <a:noAutofit/>
          </a:bodyPr>
          <a:lstStyle>
            <a:lvl1pPr>
              <a:defRPr lang="en-GB" sz="1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DC2F3090-6FE8-4E74-BD9E-65EADCD84B1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779215" y="1526063"/>
            <a:ext cx="5932800" cy="364299"/>
          </a:xfrm>
        </p:spPr>
        <p:txBody>
          <a:bodyPr>
            <a:noAutofit/>
          </a:bodyPr>
          <a:lstStyle>
            <a:lvl1pPr>
              <a:defRPr lang="en-GB" sz="1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A094A3-D9E5-477E-858A-67A278A052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650" y="2029792"/>
            <a:ext cx="2102133" cy="430216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79F2684-6591-4C99-AF88-CEFCFF097C9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779215" y="2029792"/>
            <a:ext cx="5928135" cy="430216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0DC4C83-3256-4146-8084-54434839F7E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5745615" y="-1011700"/>
            <a:ext cx="0" cy="59328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0009C673-469A-4CE3-8291-B0DFF3E4F45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1491450" y="899900"/>
            <a:ext cx="0" cy="210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14" name="Graphic 23">
            <a:extLst>
              <a:ext uri="{FF2B5EF4-FFF2-40B4-BE49-F238E27FC236}">
                <a16:creationId xmlns:a16="http://schemas.microsoft.com/office/drawing/2014/main" id="{A4926F29-1837-754B-9055-26AB9BF34D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62742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Slide_Option 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3BAE3-2D06-45F9-998E-D9CFAB280B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731" y="4687390"/>
            <a:ext cx="8270469" cy="557269"/>
          </a:xfrm>
        </p:spPr>
        <p:txBody>
          <a:bodyPr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0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A1490AF-0525-48F2-A684-E6FAF961D4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50" y="0"/>
            <a:ext cx="9144000" cy="4278702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4BB58F-C001-4563-AC1C-917D027A00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1732" y="5347793"/>
            <a:ext cx="5234450" cy="284162"/>
          </a:xfrm>
        </p:spPr>
        <p:txBody>
          <a:bodyPr>
            <a:noAutofit/>
          </a:bodyPr>
          <a:lstStyle>
            <a:lvl1pPr marL="0" indent="0">
              <a:spcBef>
                <a:spcPts val="200"/>
              </a:spcBef>
              <a:spcAft>
                <a:spcPts val="200"/>
              </a:spcAft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bg1"/>
                </a:solidFill>
              </a:defRPr>
            </a:lvl2pPr>
            <a:lvl3pPr marL="685800" indent="0"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4pPr>
            <a:lvl5pPr marL="13716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here to add name of presenter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4CAF8A-6DD5-421C-AF27-DD518DECB2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289" y="5649207"/>
            <a:ext cx="2508909" cy="284162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here to add dat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9B1BD35-9B4D-4E3A-A4DD-5AF8231992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90637" y="6288426"/>
            <a:ext cx="1499679" cy="330162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175BB3-713C-4D31-8B16-BD286475CAB1}"/>
              </a:ext>
            </a:extLst>
          </p:cNvPr>
          <p:cNvCxnSpPr/>
          <p:nvPr/>
        </p:nvCxnSpPr>
        <p:spPr>
          <a:xfrm>
            <a:off x="441731" y="4586053"/>
            <a:ext cx="50863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12">
            <a:extLst>
              <a:ext uri="{FF2B5EF4-FFF2-40B4-BE49-F238E27FC236}">
                <a16:creationId xmlns:a16="http://schemas.microsoft.com/office/drawing/2014/main" id="{687E6B79-A31E-EC43-BB9A-F25F7FE646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90637" y="6288426"/>
            <a:ext cx="1499679" cy="330162"/>
          </a:xfrm>
          <a:prstGeom prst="rect">
            <a:avLst/>
          </a:prstGeom>
        </p:spPr>
      </p:pic>
      <p:cxnSp>
        <p:nvCxnSpPr>
          <p:cNvPr id="14" name="Straight Connector 8">
            <a:extLst>
              <a:ext uri="{FF2B5EF4-FFF2-40B4-BE49-F238E27FC236}">
                <a16:creationId xmlns:a16="http://schemas.microsoft.com/office/drawing/2014/main" id="{19A6B513-DB81-CE4E-87C9-18D0642ED74C}"/>
              </a:ext>
            </a:extLst>
          </p:cNvPr>
          <p:cNvCxnSpPr/>
          <p:nvPr userDrawn="1"/>
        </p:nvCxnSpPr>
        <p:spPr>
          <a:xfrm>
            <a:off x="441731" y="4586053"/>
            <a:ext cx="50863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29168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Split_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C87C435-4E6B-4346-947A-EF108D62E8F7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41731" y="1526064"/>
            <a:ext cx="3945600" cy="352424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100" b="1"/>
            </a:lvl2pPr>
            <a:lvl3pPr marL="685800" indent="0">
              <a:buNone/>
              <a:defRPr sz="1050" b="1"/>
            </a:lvl3pPr>
            <a:lvl4pPr marL="1028700" indent="0">
              <a:buNone/>
              <a:defRPr sz="1000" b="1"/>
            </a:lvl4pPr>
            <a:lvl5pPr marL="1371600" indent="0">
              <a:buNone/>
              <a:defRPr sz="1000" b="1"/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A5B8E76-3A2A-4F98-9866-5873E795631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763068" y="1526064"/>
            <a:ext cx="3945600" cy="352424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100" b="1"/>
            </a:lvl2pPr>
            <a:lvl3pPr marL="685800" indent="0">
              <a:buNone/>
              <a:defRPr sz="1050" b="1"/>
            </a:lvl3pPr>
            <a:lvl4pPr marL="1028700" indent="0">
              <a:buNone/>
              <a:defRPr sz="1000" b="1"/>
            </a:lvl4pPr>
            <a:lvl5pPr marL="1371600" indent="0">
              <a:buNone/>
              <a:defRPr sz="1000" b="1"/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119A17C-E4D3-48C7-BAA5-7C29BFEEB8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1731" y="2030413"/>
            <a:ext cx="3945600" cy="430371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13671EE9-F609-47BA-A595-5C9890C9641F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763068" y="2030413"/>
            <a:ext cx="3945600" cy="430371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D3B72E1-9C0D-4AF4-A3A1-4324BA2D72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2409450" y="-18100"/>
            <a:ext cx="0" cy="394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BD1DDEC-B3BB-4BE4-9ABF-AC6BCD70BB0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6735868" y="-18100"/>
            <a:ext cx="0" cy="394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14" name="Graphic 23">
            <a:extLst>
              <a:ext uri="{FF2B5EF4-FFF2-40B4-BE49-F238E27FC236}">
                <a16:creationId xmlns:a16="http://schemas.microsoft.com/office/drawing/2014/main" id="{173E7C0D-8740-4D49-AF93-776CD34DB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3976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Split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A5B8E76-3A2A-4F98-9866-5873E795631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763068" y="1526064"/>
            <a:ext cx="3945600" cy="352424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100" b="1"/>
            </a:lvl2pPr>
            <a:lvl3pPr marL="685800" indent="0">
              <a:buNone/>
              <a:defRPr sz="1050" b="1"/>
            </a:lvl3pPr>
            <a:lvl4pPr marL="1028700" indent="0">
              <a:buNone/>
              <a:defRPr sz="1000" b="1"/>
            </a:lvl4pPr>
            <a:lvl5pPr marL="1371600" indent="0">
              <a:buNone/>
              <a:defRPr sz="1000" b="1"/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13671EE9-F609-47BA-A595-5C9890C9641F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763068" y="2030413"/>
            <a:ext cx="3945600" cy="430371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2DA0AC6-65F5-47FA-BA6E-0D004E73875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6735868" y="-18100"/>
            <a:ext cx="0" cy="394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8" name="Graphic 23">
            <a:extLst>
              <a:ext uri="{FF2B5EF4-FFF2-40B4-BE49-F238E27FC236}">
                <a16:creationId xmlns:a16="http://schemas.microsoft.com/office/drawing/2014/main" id="{55F48563-F637-8640-AFDC-0D286C7AD4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381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Split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C87C435-4E6B-4346-947A-EF108D62E8F7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41731" y="1526064"/>
            <a:ext cx="3945600" cy="352424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100" b="1"/>
            </a:lvl2pPr>
            <a:lvl3pPr marL="685800" indent="0">
              <a:buNone/>
              <a:defRPr sz="1050" b="1"/>
            </a:lvl3pPr>
            <a:lvl4pPr marL="1028700" indent="0">
              <a:buNone/>
              <a:defRPr sz="1000" b="1"/>
            </a:lvl4pPr>
            <a:lvl5pPr marL="1371600" indent="0">
              <a:buNone/>
              <a:defRPr sz="1000" b="1"/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119A17C-E4D3-48C7-BAA5-7C29BFEEB8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1731" y="2030413"/>
            <a:ext cx="3945600" cy="430371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F03E1733-F5B2-40E1-B61C-70DCACBCE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2409450" y="-18100"/>
            <a:ext cx="0" cy="394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9" name="Graphic 23">
            <a:extLst>
              <a:ext uri="{FF2B5EF4-FFF2-40B4-BE49-F238E27FC236}">
                <a16:creationId xmlns:a16="http://schemas.microsoft.com/office/drawing/2014/main" id="{3C6F1ADA-A77E-F942-85E7-B8BDAB1125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6595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4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18AA9E69-3750-4B27-A978-87E756AA06E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63151" y="1526063"/>
            <a:ext cx="39456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9A9D658E-45D1-4C16-B0AF-31ACD3C3F57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63151" y="3976901"/>
            <a:ext cx="39456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887DC01-954B-4C30-942E-6E7E331D3A1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39357" y="1526063"/>
            <a:ext cx="39456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14852344-F5F5-4944-A729-7AD256070F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9357" y="3976901"/>
            <a:ext cx="39456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79D5E42-1CD3-422D-B362-2880A7200C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7984" y="2029793"/>
            <a:ext cx="394560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7BFFE5D-1254-4F97-8300-C00A0095A5F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7984" y="4482802"/>
            <a:ext cx="394560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A5AFA6A-6A0F-41C6-83C5-397F9D417FB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763151" y="4482802"/>
            <a:ext cx="394560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412A1CB-BFB1-40F8-880F-F4109B33A85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763151" y="2029793"/>
            <a:ext cx="394560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90CCAC73-B820-4665-A938-7947E1FAE4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2409450" y="-18100"/>
            <a:ext cx="0" cy="394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E131D88-2374-498A-B273-5C40E3A321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6735868" y="-18100"/>
            <a:ext cx="0" cy="394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05C9452-2524-4C9B-A748-CE47F8AC2EA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16200000">
            <a:off x="2420784" y="2444053"/>
            <a:ext cx="0" cy="394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250C2CD-EFC2-49EA-869E-DFA468E3915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16200000">
            <a:off x="6739400" y="2444054"/>
            <a:ext cx="0" cy="394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17" name="Graphic 23">
            <a:extLst>
              <a:ext uri="{FF2B5EF4-FFF2-40B4-BE49-F238E27FC236}">
                <a16:creationId xmlns:a16="http://schemas.microsoft.com/office/drawing/2014/main" id="{0297775D-577A-924E-9D81-0E56757BE0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9280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Right 2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969431B8-18B7-469C-9CB1-EF3D6E4CD61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1799" y="1526063"/>
            <a:ext cx="39456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F9341958-8D0A-4BDA-866E-09740595FD8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63151" y="1526063"/>
            <a:ext cx="39456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4EC3B65-E1DB-40D3-977A-2AD84C93F63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63151" y="3976901"/>
            <a:ext cx="39456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B88634A-9119-474A-BF86-A55CF301559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650" y="2029792"/>
            <a:ext cx="3940749" cy="430216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4F55C16-A9B1-447C-8A69-2F069243FEF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763151" y="4492505"/>
            <a:ext cx="394560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F1C425B-020A-46C7-BFB8-C5C6AAF93D1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763151" y="2029792"/>
            <a:ext cx="394560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CF468D1-CEC7-428D-85CE-BAF4D51216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2409450" y="-18100"/>
            <a:ext cx="0" cy="394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16CE770-8AA3-43BC-9D9F-19AD31F2D6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6735868" y="-18100"/>
            <a:ext cx="0" cy="394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E4C548E7-E618-489E-B657-DBE84F48252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16200000">
            <a:off x="6739400" y="2444054"/>
            <a:ext cx="0" cy="394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14" name="Graphic 23">
            <a:extLst>
              <a:ext uri="{FF2B5EF4-FFF2-40B4-BE49-F238E27FC236}">
                <a16:creationId xmlns:a16="http://schemas.microsoft.com/office/drawing/2014/main" id="{74F526F4-EE7F-7449-ABE1-64A3374223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8653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6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6AA076C4-A628-4656-BE4F-8DB1A71D78C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38269" y="1526063"/>
            <a:ext cx="266278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9D616E20-437F-4E3C-A32E-BD3A70F5D92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245367" y="1526063"/>
            <a:ext cx="26640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65C90D80-9225-4B10-8BEF-F30777EAD8B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48822" y="1526063"/>
            <a:ext cx="26640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4" name="Text Placeholder 8">
            <a:extLst>
              <a:ext uri="{FF2B5EF4-FFF2-40B4-BE49-F238E27FC236}">
                <a16:creationId xmlns:a16="http://schemas.microsoft.com/office/drawing/2014/main" id="{2E898026-8CE3-4B5E-8343-66ED8B710A7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38268" y="3988777"/>
            <a:ext cx="26640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B0EF7BEE-0BB8-4FD2-8CD6-01DE33CB4F30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3246587" y="3988777"/>
            <a:ext cx="26640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4FFAC559-E938-490D-A42F-1DBC68642936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050850" y="3988777"/>
            <a:ext cx="26640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DA61C4F-F1DB-4262-9E57-F44344F19D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8269" y="2029793"/>
            <a:ext cx="266278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0FDB4CD-E4F9-4328-BE15-54E3FC4E9F5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246587" y="2029793"/>
            <a:ext cx="266278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CB5C132-241B-4967-B090-E6CA30188D5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6048822" y="2029793"/>
            <a:ext cx="266278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0A040822-F5C6-4F05-A02A-B9C86E9757B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40297" y="4495283"/>
            <a:ext cx="266278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4527EF2-E8BA-4B25-883B-133D64F3F8F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246587" y="4495283"/>
            <a:ext cx="266278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4CEF6A4F-DCC7-4240-A347-9A65B26812D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050850" y="4495283"/>
            <a:ext cx="2662780" cy="183944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0C4C160-884B-4C30-BEAB-43BF40783D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1768650" y="622700"/>
            <a:ext cx="0" cy="2664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B20FF7B7-9F10-49BB-80EB-908222B3728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16200000">
            <a:off x="1779984" y="3084853"/>
            <a:ext cx="0" cy="2664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A9B1A997-BB72-454B-AC89-9AD4E31C034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 rot="16200000">
            <a:off x="4577367" y="622700"/>
            <a:ext cx="0" cy="2664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9548A750-45B7-4699-AC26-4B44891B345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 rot="16200000">
            <a:off x="4577367" y="3084853"/>
            <a:ext cx="0" cy="2664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829DB26B-0D10-4147-A06D-9465EC2A6AB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 rot="16200000">
            <a:off x="7380822" y="622699"/>
            <a:ext cx="0" cy="2664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04C1E085-93B4-4495-82BA-A0B7B20AB83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 rot="16200000">
            <a:off x="7380822" y="3084852"/>
            <a:ext cx="0" cy="2664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23" name="Graphic 23">
            <a:extLst>
              <a:ext uri="{FF2B5EF4-FFF2-40B4-BE49-F238E27FC236}">
                <a16:creationId xmlns:a16="http://schemas.microsoft.com/office/drawing/2014/main" id="{15B64982-89B4-F147-8BE9-619D3785F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74247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 marL="0" algn="l" defTabSz="914400" rtl="0" eaLnBrk="1" latinLnBrk="0" hangingPunct="1">
              <a:defRPr lang="en-GB" sz="700" kern="1200" smtClean="0">
                <a:solidFill>
                  <a:srgbClr val="A7A9A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B60A7DEC-EF7F-4E46-A5DD-3BCC77918EC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38269" y="1526063"/>
            <a:ext cx="2642137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90A710EC-E39F-4EDC-A883-BF98E53FD1C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254166" y="1526063"/>
            <a:ext cx="2642137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28103D85-99BF-44B7-911F-6E2D0CCD8E0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070062" y="1526063"/>
            <a:ext cx="2642137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644C780-0B09-4433-B6F6-40BFCE9E9C8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8269" y="2029793"/>
            <a:ext cx="2662780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36916E6-582A-4701-BFE3-606884005E5B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244559" y="2029793"/>
            <a:ext cx="2662780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8790663-E9D3-40D6-BF47-3C517A8EB10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6048822" y="2029793"/>
            <a:ext cx="2662780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02D3FE2-6937-46C0-9867-B70FB08A38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1768650" y="622700"/>
            <a:ext cx="0" cy="2664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6493055-2B3F-4015-8D20-0622902175A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 rot="16200000">
            <a:off x="4577367" y="622700"/>
            <a:ext cx="0" cy="2664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6BF3B02-570B-4EF4-875C-9C49E0368BC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 rot="16200000">
            <a:off x="7380822" y="622699"/>
            <a:ext cx="0" cy="2664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20" name="Graphic 23">
            <a:extLst>
              <a:ext uri="{FF2B5EF4-FFF2-40B4-BE49-F238E27FC236}">
                <a16:creationId xmlns:a16="http://schemas.microsoft.com/office/drawing/2014/main" id="{2250866B-E2A3-1B49-A6CD-C59EF31A9D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98993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 marL="0" algn="l" defTabSz="914400" rtl="0" eaLnBrk="1" latinLnBrk="0" hangingPunct="1">
              <a:defRPr lang="en-GB" sz="700" kern="1200" smtClean="0">
                <a:solidFill>
                  <a:srgbClr val="A7A9A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25426"/>
            <a:ext cx="8280400" cy="8270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55D8ED6C-6C26-4155-990D-F6F5AF076F3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31801" y="1526063"/>
            <a:ext cx="1961106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8FEF2910-4E35-42FE-9107-FB15F9B2EC3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538232" y="1526063"/>
            <a:ext cx="1961106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Text Placeholder 8">
            <a:extLst>
              <a:ext uri="{FF2B5EF4-FFF2-40B4-BE49-F238E27FC236}">
                <a16:creationId xmlns:a16="http://schemas.microsoft.com/office/drawing/2014/main" id="{B9FB3083-E27B-402F-A6C5-EBF60C830D2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44663" y="1526063"/>
            <a:ext cx="1961106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2E8CD518-AAB8-4019-AE33-0A5E99ADC7F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751989" y="1526063"/>
            <a:ext cx="1961106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B34DDCC-EEEA-429A-85DB-DCB0319D66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8269" y="2029793"/>
            <a:ext cx="1961106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E963CFB-2688-4368-AC33-0E3783D7CB9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2538232" y="2029793"/>
            <a:ext cx="1961106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8D850DE-36F9-4652-A558-7F6F190D62D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644663" y="2029793"/>
            <a:ext cx="1961106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5897599-41CF-466B-AB6D-280957CEE896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751095" y="2029793"/>
            <a:ext cx="1961106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46E04A00-E50C-4227-A87F-D5BED196F8E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1417650" y="973700"/>
            <a:ext cx="0" cy="1962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73C4097D-CE80-4A4B-86DC-ED1CCFC34A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 rot="16200000">
            <a:off x="3519232" y="973700"/>
            <a:ext cx="0" cy="1962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BD4886BF-5BFE-46DE-B78D-3DF3CC890F2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 rot="16200000">
            <a:off x="5625663" y="973699"/>
            <a:ext cx="0" cy="1962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72EE4BBB-8A69-4ECD-B162-01FE121680E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 rot="16200000">
            <a:off x="7732095" y="973698"/>
            <a:ext cx="0" cy="1962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20" name="Graphic 23">
            <a:extLst>
              <a:ext uri="{FF2B5EF4-FFF2-40B4-BE49-F238E27FC236}">
                <a16:creationId xmlns:a16="http://schemas.microsoft.com/office/drawing/2014/main" id="{CBF90628-A057-0648-B028-720C74CA7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62680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 marL="0" algn="l" defTabSz="914400" rtl="0" eaLnBrk="1" latinLnBrk="0" hangingPunct="1">
              <a:defRPr lang="en-GB" sz="700" kern="1200" smtClean="0">
                <a:solidFill>
                  <a:srgbClr val="A7A9A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C22D1B-0D07-4F58-B833-8239E0EB7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25426"/>
            <a:ext cx="8280400" cy="8270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2D9DA42-E4E3-4C73-AEF9-DB5E8A4D3C4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6649" y="1526063"/>
            <a:ext cx="15084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58AD2582-F1BB-40ED-A9E5-ABAF321CACE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128181" y="1526063"/>
            <a:ext cx="15084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2CFC63B5-4243-4855-B58D-68CA8760456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819710" y="1526063"/>
            <a:ext cx="15084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3DF0A8CB-CAD7-4CDD-AF0F-84383FBF198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511239" y="1526063"/>
            <a:ext cx="15084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4558BAB2-378F-4B14-960A-3A2174BE767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7202768" y="1526063"/>
            <a:ext cx="1508400" cy="364299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DBA5304-B7C7-43DE-A192-5BCFC9CF15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8269" y="2029793"/>
            <a:ext cx="1500843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82E7229-DDF7-48AF-9A1B-D70B945A3397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2128181" y="2029793"/>
            <a:ext cx="1500843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9FD8CD65-CB6D-4CD0-9D43-6898F87FEAC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819710" y="2029793"/>
            <a:ext cx="1500843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3C5C5E-56FD-4F3C-B6AD-53ECA20B349A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511239" y="2029793"/>
            <a:ext cx="1500843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20AE21E-0194-4AC2-8D02-82D544152B9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211357" y="2029793"/>
            <a:ext cx="1500843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27188D4B-A508-48AD-8ABD-95101F12F29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1190850" y="1200500"/>
            <a:ext cx="0" cy="15084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2C912C7-ACDB-43F0-A8E3-B5BFCC5E90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 rot="16200000">
            <a:off x="2882381" y="1200500"/>
            <a:ext cx="0" cy="15084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92ACD9D1-8E90-48E1-9232-F6EB317EA12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 rot="16200000">
            <a:off x="4573910" y="1200499"/>
            <a:ext cx="0" cy="15084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16A4FDF-4283-441D-9188-522AB52D9EDA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 rot="16200000">
            <a:off x="6265439" y="1200498"/>
            <a:ext cx="0" cy="15084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EE1AFE3C-0AE8-4678-B718-2D784AE80C1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 rot="16200000">
            <a:off x="7956968" y="1199185"/>
            <a:ext cx="0" cy="15084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20" name="Graphic 23">
            <a:extLst>
              <a:ext uri="{FF2B5EF4-FFF2-40B4-BE49-F238E27FC236}">
                <a16:creationId xmlns:a16="http://schemas.microsoft.com/office/drawing/2014/main" id="{0BAF2D13-5FF6-1F4B-B869-FCFC9C0754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8527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Flow_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/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664D831-61AC-4E6A-96DD-3D74B7A660C6}"/>
              </a:ext>
            </a:extLst>
          </p:cNvPr>
          <p:cNvGrpSpPr/>
          <p:nvPr/>
        </p:nvGrpSpPr>
        <p:grpSpPr>
          <a:xfrm>
            <a:off x="2314496" y="2307588"/>
            <a:ext cx="210818" cy="3690620"/>
            <a:chOff x="4320540" y="2006600"/>
            <a:chExt cx="210818" cy="3690620"/>
          </a:xfrm>
          <a:solidFill>
            <a:schemeClr val="accent4"/>
          </a:solidFill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0A20C96-B2E2-4355-9368-EBA3EC3419D3}"/>
                </a:ext>
              </a:extLst>
            </p:cNvPr>
            <p:cNvCxnSpPr/>
            <p:nvPr/>
          </p:nvCxnSpPr>
          <p:spPr>
            <a:xfrm>
              <a:off x="4320540" y="2006600"/>
              <a:ext cx="0" cy="3690620"/>
            </a:xfrm>
            <a:prstGeom prst="line">
              <a:avLst/>
            </a:prstGeom>
            <a:grpFill/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Flowchart: Extract 21">
              <a:extLst>
                <a:ext uri="{FF2B5EF4-FFF2-40B4-BE49-F238E27FC236}">
                  <a16:creationId xmlns:a16="http://schemas.microsoft.com/office/drawing/2014/main" id="{9896E7DA-F5A3-4908-ADEA-A835370C20FA}"/>
                </a:ext>
              </a:extLst>
            </p:cNvPr>
            <p:cNvSpPr/>
            <p:nvPr/>
          </p:nvSpPr>
          <p:spPr>
            <a:xfrm rot="5400000">
              <a:off x="3489641" y="3747453"/>
              <a:ext cx="1874520" cy="208915"/>
            </a:xfrm>
            <a:prstGeom prst="flowChartExtract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7FE020FD-2F96-4CB7-AB74-D61F9AA0EC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A18EEC0-B2B6-4A23-9193-084A02205867}"/>
              </a:ext>
            </a:extLst>
          </p:cNvPr>
          <p:cNvGrpSpPr/>
          <p:nvPr/>
        </p:nvGrpSpPr>
        <p:grpSpPr>
          <a:xfrm>
            <a:off x="4479940" y="2307588"/>
            <a:ext cx="210818" cy="3690620"/>
            <a:chOff x="4320540" y="2006600"/>
            <a:chExt cx="210818" cy="3690620"/>
          </a:xfrm>
          <a:solidFill>
            <a:schemeClr val="accent4"/>
          </a:solidFill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509A3BB7-3488-441B-BB59-AECB9012B0CA}"/>
                </a:ext>
              </a:extLst>
            </p:cNvPr>
            <p:cNvCxnSpPr/>
            <p:nvPr/>
          </p:nvCxnSpPr>
          <p:spPr>
            <a:xfrm>
              <a:off x="4320540" y="2006600"/>
              <a:ext cx="0" cy="3690620"/>
            </a:xfrm>
            <a:prstGeom prst="line">
              <a:avLst/>
            </a:prstGeom>
            <a:grpFill/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Flowchart: Extract 41">
              <a:extLst>
                <a:ext uri="{FF2B5EF4-FFF2-40B4-BE49-F238E27FC236}">
                  <a16:creationId xmlns:a16="http://schemas.microsoft.com/office/drawing/2014/main" id="{EE9FAFD4-4F00-42AA-B0A0-F8CFEF030F84}"/>
                </a:ext>
              </a:extLst>
            </p:cNvPr>
            <p:cNvSpPr/>
            <p:nvPr/>
          </p:nvSpPr>
          <p:spPr>
            <a:xfrm rot="5400000">
              <a:off x="3489641" y="3747453"/>
              <a:ext cx="1874520" cy="208915"/>
            </a:xfrm>
            <a:prstGeom prst="flowChartExtract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6C28B40-0EC7-42CD-83B7-3F6D18196A47}"/>
              </a:ext>
            </a:extLst>
          </p:cNvPr>
          <p:cNvGrpSpPr/>
          <p:nvPr/>
        </p:nvGrpSpPr>
        <p:grpSpPr>
          <a:xfrm>
            <a:off x="6645384" y="2307588"/>
            <a:ext cx="210818" cy="3690620"/>
            <a:chOff x="4320540" y="2006600"/>
            <a:chExt cx="210818" cy="3690620"/>
          </a:xfrm>
          <a:solidFill>
            <a:schemeClr val="accent4"/>
          </a:solidFill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1F709A88-1EE8-441F-9A04-DAEA9394F86A}"/>
                </a:ext>
              </a:extLst>
            </p:cNvPr>
            <p:cNvCxnSpPr/>
            <p:nvPr/>
          </p:nvCxnSpPr>
          <p:spPr>
            <a:xfrm>
              <a:off x="4320540" y="2006600"/>
              <a:ext cx="0" cy="3690620"/>
            </a:xfrm>
            <a:prstGeom prst="line">
              <a:avLst/>
            </a:prstGeom>
            <a:grpFill/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Flowchart: Extract 44">
              <a:extLst>
                <a:ext uri="{FF2B5EF4-FFF2-40B4-BE49-F238E27FC236}">
                  <a16:creationId xmlns:a16="http://schemas.microsoft.com/office/drawing/2014/main" id="{8729985E-58B3-4E88-9019-E32797BF41B0}"/>
                </a:ext>
              </a:extLst>
            </p:cNvPr>
            <p:cNvSpPr/>
            <p:nvPr/>
          </p:nvSpPr>
          <p:spPr>
            <a:xfrm rot="5400000">
              <a:off x="3489641" y="3747453"/>
              <a:ext cx="1874520" cy="208915"/>
            </a:xfrm>
            <a:prstGeom prst="flowChartExtract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10C5999-3717-4E20-B098-8EFF7A5EED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0175" y="1524042"/>
            <a:ext cx="1778902" cy="363600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A1C0408-AE3F-4B21-9D43-0B11AEF3BCF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06724" y="1524042"/>
            <a:ext cx="1778902" cy="363600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1267383-6355-4AD1-8A46-B8CCC1C906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78621" y="1524042"/>
            <a:ext cx="1778902" cy="363600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7711173E-7818-42EF-8528-B4F3D84B05D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936507" y="1524042"/>
            <a:ext cx="1778902" cy="363600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rgbClr val="FF671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0DDE12E-E0BF-4FD1-8A00-70BE3B70C22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8269" y="2029793"/>
            <a:ext cx="1778896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8C5F75E-6CCF-43CB-B0CE-ADC077C0A1B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2606730" y="2029793"/>
            <a:ext cx="1778896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393C990-0764-4062-BA1F-20A2AF15AE4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778627" y="2029793"/>
            <a:ext cx="1778896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7C6A4539-D63A-49E1-8D0D-0CFDBA61334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936513" y="2029793"/>
            <a:ext cx="1778896" cy="43043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C3EAE4B-141A-4A08-8BBC-59F13F5728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1325850" y="1065500"/>
            <a:ext cx="0" cy="17784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C7F41827-E273-4259-A32C-5DEA97F758E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 rot="16200000">
            <a:off x="3496426" y="1065500"/>
            <a:ext cx="0" cy="1778400"/>
          </a:xfr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D62A8A70-31B4-41E8-8379-4E036CB5E10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 rot="16200000">
            <a:off x="5668323" y="1065499"/>
            <a:ext cx="0" cy="1778400"/>
          </a:xfr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307B3D10-7DDB-4418-BAE2-9EC9060E99A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 rot="16200000">
            <a:off x="7826208" y="1065498"/>
            <a:ext cx="0" cy="1778400"/>
          </a:xfrm>
          <a:ln w="19050">
            <a:solidFill>
              <a:srgbClr val="FF67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32" name="Graphic 23">
            <a:extLst>
              <a:ext uri="{FF2B5EF4-FFF2-40B4-BE49-F238E27FC236}">
                <a16:creationId xmlns:a16="http://schemas.microsoft.com/office/drawing/2014/main" id="{0B883395-F313-7B4F-9666-3D66DC8501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250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89" y="3128344"/>
            <a:ext cx="8346795" cy="75354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B31D993-981B-4190-9FE9-FFC6BC87C5FC}"/>
              </a:ext>
            </a:extLst>
          </p:cNvPr>
          <p:cNvCxnSpPr/>
          <p:nvPr/>
        </p:nvCxnSpPr>
        <p:spPr>
          <a:xfrm>
            <a:off x="449289" y="2993367"/>
            <a:ext cx="100584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">
            <a:extLst>
              <a:ext uri="{FF2B5EF4-FFF2-40B4-BE49-F238E27FC236}">
                <a16:creationId xmlns:a16="http://schemas.microsoft.com/office/drawing/2014/main" id="{2D3BBBDE-0A4F-6D42-849C-BC9590B8DBBB}"/>
              </a:ext>
            </a:extLst>
          </p:cNvPr>
          <p:cNvCxnSpPr/>
          <p:nvPr userDrawn="1"/>
        </p:nvCxnSpPr>
        <p:spPr>
          <a:xfrm>
            <a:off x="449289" y="2993367"/>
            <a:ext cx="100584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65489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Key Points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C87C435-4E6B-4346-947A-EF108D62E8F7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9117" y="1971676"/>
            <a:ext cx="3540759" cy="3262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1"/>
            </a:lvl1pPr>
            <a:lvl2pPr marL="342900" indent="0">
              <a:buNone/>
              <a:defRPr sz="1100" b="1"/>
            </a:lvl2pPr>
            <a:lvl3pPr marL="685800" indent="0">
              <a:buNone/>
              <a:defRPr sz="1050" b="1"/>
            </a:lvl3pPr>
            <a:lvl4pPr marL="1028700" indent="0">
              <a:buNone/>
              <a:defRPr sz="1000" b="1"/>
            </a:lvl4pPr>
            <a:lvl5pPr marL="1371600" indent="0">
              <a:buNone/>
              <a:defRPr sz="1000" b="1"/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77574D5F-2C64-4722-8EB5-89D890CD1D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E23C27-73B1-40B1-860C-A26462B1B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25426"/>
            <a:ext cx="3799837" cy="8270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3" name="Text Placeholder 47">
            <a:extLst>
              <a:ext uri="{FF2B5EF4-FFF2-40B4-BE49-F238E27FC236}">
                <a16:creationId xmlns:a16="http://schemas.microsoft.com/office/drawing/2014/main" id="{20945E81-6DF9-4D8A-AD2F-BE1589411F5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9117" y="2321624"/>
            <a:ext cx="3550089" cy="7778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lang="en-GB" sz="12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0ED581F-D706-4FF1-B6E9-FE1D0F0E2656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619117" y="3265900"/>
            <a:ext cx="3540759" cy="3262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1"/>
            </a:lvl1pPr>
            <a:lvl2pPr marL="342900" indent="0">
              <a:buNone/>
              <a:defRPr sz="1100" b="1"/>
            </a:lvl2pPr>
            <a:lvl3pPr marL="685800" indent="0">
              <a:buNone/>
              <a:defRPr sz="1050" b="1"/>
            </a:lvl3pPr>
            <a:lvl4pPr marL="1028700" indent="0">
              <a:buNone/>
              <a:defRPr sz="1000" b="1"/>
            </a:lvl4pPr>
            <a:lvl5pPr marL="1371600" indent="0">
              <a:buNone/>
              <a:defRPr sz="1000" b="1"/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3" name="Text Placeholder 47">
            <a:extLst>
              <a:ext uri="{FF2B5EF4-FFF2-40B4-BE49-F238E27FC236}">
                <a16:creationId xmlns:a16="http://schemas.microsoft.com/office/drawing/2014/main" id="{E2073DB6-22B1-4461-997E-69F2939F31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9117" y="3609908"/>
            <a:ext cx="3550089" cy="7778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lang="en-GB" sz="12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3874A4E-F0F3-4C22-9F21-758F1E2A0D16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117" y="4518977"/>
            <a:ext cx="3540759" cy="3262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200" b="1"/>
            </a:lvl1pPr>
            <a:lvl2pPr marL="342900" indent="0">
              <a:buNone/>
              <a:defRPr sz="1100" b="1"/>
            </a:lvl2pPr>
            <a:lvl3pPr marL="685800" indent="0">
              <a:buNone/>
              <a:defRPr sz="1050" b="1"/>
            </a:lvl3pPr>
            <a:lvl4pPr marL="1028700" indent="0">
              <a:buNone/>
              <a:defRPr sz="1000" b="1"/>
            </a:lvl4pPr>
            <a:lvl5pPr marL="1371600" indent="0">
              <a:buNone/>
              <a:defRPr sz="1000" b="1"/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6" name="Text Placeholder 47">
            <a:extLst>
              <a:ext uri="{FF2B5EF4-FFF2-40B4-BE49-F238E27FC236}">
                <a16:creationId xmlns:a16="http://schemas.microsoft.com/office/drawing/2014/main" id="{FEE02542-E18A-43E3-AB18-9D1970364E6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9117" y="4862985"/>
            <a:ext cx="3550089" cy="7778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lang="en-GB" sz="12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3337820-C94F-49E8-A52F-048BF5DE80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646" y="1971676"/>
            <a:ext cx="0" cy="1116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E3D3421-6938-4AF5-8421-D75B1D29717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955" y="3265900"/>
            <a:ext cx="0" cy="1116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06F6440-E3E3-42AE-BFE9-6E75D24EC13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0646" y="4518977"/>
            <a:ext cx="0" cy="1116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79394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580608C-73D1-4764-9217-72E407F8D8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567" y="1518657"/>
            <a:ext cx="8095636" cy="290375"/>
          </a:xfrm>
        </p:spPr>
        <p:txBody>
          <a:bodyPr>
            <a:noAutofit/>
          </a:bodyPr>
          <a:lstStyle>
            <a:lvl1pPr>
              <a:defRPr lang="en-GB" sz="1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7749ECE-7566-4E22-A42E-C71AEDFD1F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9636" y="1861554"/>
            <a:ext cx="8091183" cy="34729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6E49FF-C8C8-4F8E-85BD-D17FEC88E8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955" y="1518657"/>
            <a:ext cx="0" cy="3816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10" name="Graphic 23">
            <a:extLst>
              <a:ext uri="{FF2B5EF4-FFF2-40B4-BE49-F238E27FC236}">
                <a16:creationId xmlns:a16="http://schemas.microsoft.com/office/drawing/2014/main" id="{296132F2-9E94-A24B-9E63-280271FFDD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7963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F819014-0F76-410C-AC7B-7A0CB82A5B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566" y="1526214"/>
            <a:ext cx="8095633" cy="290375"/>
          </a:xfrm>
        </p:spPr>
        <p:txBody>
          <a:bodyPr>
            <a:noAutofit/>
          </a:bodyPr>
          <a:lstStyle>
            <a:lvl1pPr>
              <a:defRPr lang="en-GB" sz="1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EF81C10-7240-46B8-93DD-5C6310FE25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66" y="4043793"/>
            <a:ext cx="8095633" cy="290375"/>
          </a:xfrm>
        </p:spPr>
        <p:txBody>
          <a:bodyPr>
            <a:noAutofit/>
          </a:bodyPr>
          <a:lstStyle>
            <a:lvl1pPr>
              <a:defRPr lang="en-GB" sz="1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280A6F-2A83-451F-8AEC-4FE6B6E21E0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9636" y="1861555"/>
            <a:ext cx="8091183" cy="19914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8E7DEAA-A01C-4E76-BFAC-D7A214143D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305" y="4381929"/>
            <a:ext cx="8091183" cy="66542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4E174E3-AADD-415D-8D32-EE1C4F0CE2E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0082" y="1518657"/>
            <a:ext cx="0" cy="2322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8F97FB1-B91B-40C4-926B-F3F726E6A18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0082" y="4043793"/>
            <a:ext cx="0" cy="10080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13" name="Graphic 23">
            <a:extLst>
              <a:ext uri="{FF2B5EF4-FFF2-40B4-BE49-F238E27FC236}">
                <a16:creationId xmlns:a16="http://schemas.microsoft.com/office/drawing/2014/main" id="{A1BE5B62-0607-5446-AA93-E7C3326C04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3130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3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E421BF0-D204-41C5-81B9-2C6EAA10F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4124" y="1526214"/>
            <a:ext cx="8088076" cy="290375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5FD7BA1-FC0B-4676-B16B-24CB33D3DF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4124" y="3182231"/>
            <a:ext cx="8088076" cy="290375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9672AA3-B6CC-4C15-BAC2-27236885B93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4124" y="4845805"/>
            <a:ext cx="8088076" cy="290375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A3B0B58-A43C-400E-9A3D-67A88AA808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9636" y="1861555"/>
            <a:ext cx="8091183" cy="11429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65417E1-1ACA-4058-9104-851AD16AD6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4124" y="3517572"/>
            <a:ext cx="8091183" cy="11429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C78C058-7D53-4899-8678-836F9A22236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124" y="5181146"/>
            <a:ext cx="8091183" cy="11429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141C674-F959-4580-B951-57DC6CDC19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955" y="1526214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77A5CD2-E87F-418C-A989-A864739612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1800" y="3182231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7E4899EB-8062-4685-B508-6F1D22685EC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1800" y="4845805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19" name="Graphic 23">
            <a:extLst>
              <a:ext uri="{FF2B5EF4-FFF2-40B4-BE49-F238E27FC236}">
                <a16:creationId xmlns:a16="http://schemas.microsoft.com/office/drawing/2014/main" id="{4FECE418-6A76-BE48-A5F8-424DB5D9EC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3647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6 Blocks w/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8A24E125-7BA4-40E0-8B36-C1D22AD1CF4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4124" y="1518657"/>
            <a:ext cx="3805200" cy="290375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E20E056E-07AD-4C51-99C5-9DFBEB16934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124" y="3186010"/>
            <a:ext cx="3805200" cy="290375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7B39923F-0DF6-4E18-89B5-B24670CCF71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124" y="4853362"/>
            <a:ext cx="3805200" cy="290375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CA11F0D-4073-4A29-8B30-6F0844F270C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762224" y="1518657"/>
            <a:ext cx="3949976" cy="290375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7FFAC4FF-0971-4FA1-97B0-8DD595E7805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62224" y="3186010"/>
            <a:ext cx="3949976" cy="290375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3845E1A2-3301-4FED-9E41-35938B0DA4F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62224" y="4853362"/>
            <a:ext cx="3949976" cy="290375"/>
          </a:xfrm>
        </p:spPr>
        <p:txBody>
          <a:bodyPr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CEF943C-96C5-447C-A3EC-710CA1408D7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9637" y="1861555"/>
            <a:ext cx="3805200" cy="11429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2642D43-33C9-44CE-9103-84F15A5F5AF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4125" y="3517572"/>
            <a:ext cx="3805200" cy="11429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0DA02E8-74A7-45DF-A259-73C3712817C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4125" y="5181146"/>
            <a:ext cx="3805200" cy="11429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67EB0EA-6CD0-421E-BD3B-F1A04B7873D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762224" y="1861555"/>
            <a:ext cx="3949976" cy="11429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8E0D4E9-1F6E-468E-AC8F-1609F7B01C4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762224" y="3517572"/>
            <a:ext cx="3949976" cy="11429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CA9F614-A97E-4716-8FF8-E3B68986309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762224" y="5181146"/>
            <a:ext cx="3949976" cy="114295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6788AF-08A5-4078-81DE-297657CA828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955" y="1526214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1F3F1EE4-2354-4525-A9AB-7049FECD2C8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31800" y="3182231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F2DD240F-02E7-42BC-B3D2-A11BDE7FB83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1800" y="4845805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EC956136-F992-4837-AFAD-020BD4AFF07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73155" y="1524909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07F99114-ACC9-43BF-9053-28DFBB4905B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72000" y="3180926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275E36C2-0647-46D2-BE2C-3BB6AE7F35C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72000" y="4844500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23" name="Graphic 23">
            <a:extLst>
              <a:ext uri="{FF2B5EF4-FFF2-40B4-BE49-F238E27FC236}">
                <a16:creationId xmlns:a16="http://schemas.microsoft.com/office/drawing/2014/main" id="{E6222E7B-0038-3D49-B384-D7F953835C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0730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3 Row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FE64BDB9-2A76-4890-B4C0-88463CF6B08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1540" y="1529893"/>
            <a:ext cx="1421753" cy="147960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93CC2997-1781-4EDB-B1EA-DA849B53EA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540" y="3178353"/>
            <a:ext cx="1421753" cy="147960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378FA04-7148-4ECA-BCFC-2D4FA4D943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31540" y="4849484"/>
            <a:ext cx="1421753" cy="147960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A675512-53BF-485B-A746-2B5B4BF3124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27710" y="1529893"/>
            <a:ext cx="6684489" cy="147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9DBA59A-2630-4257-8F37-43F1E111564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027711" y="3178353"/>
            <a:ext cx="6684489" cy="147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7A3483E-B737-4314-86AE-61BB9141277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027711" y="4849484"/>
            <a:ext cx="6684489" cy="147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E1E8791-CB54-4113-8A2D-02FF393547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40501" y="1529893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9017D33-730B-4771-8BD5-F4353A58240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40502" y="3178353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FE9A96D-2FA9-410A-B1B0-A7FCB0F4E54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40502" y="4849484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19" name="Graphic 23">
            <a:extLst>
              <a:ext uri="{FF2B5EF4-FFF2-40B4-BE49-F238E27FC236}">
                <a16:creationId xmlns:a16="http://schemas.microsoft.com/office/drawing/2014/main" id="{0B0FFC2B-BB99-3A4C-B1A0-0A0D74CEE2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7834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3 Row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EECEC2-3468-4DC9-9832-1158B3A3B8D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1538" y="1522336"/>
            <a:ext cx="1618158" cy="1473180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033DF3-1A2B-409C-AF7D-B5181796306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538" y="3192632"/>
            <a:ext cx="1618158" cy="1473180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54E654A8-08E6-4A0B-A31D-20E6E9977E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31538" y="4859984"/>
            <a:ext cx="1618158" cy="1473180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D623D29-AF13-4AC6-86ED-BD3B2B11F8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11020" y="1522336"/>
            <a:ext cx="6401180" cy="14731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0E486F5-1BB7-44B0-A10B-2E84065D8C5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11021" y="3187306"/>
            <a:ext cx="6401180" cy="14731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0BCE3B4-4465-4EAC-B73C-527E47538DA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311021" y="4862933"/>
            <a:ext cx="6401180" cy="14731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Graphic 23">
            <a:extLst>
              <a:ext uri="{FF2B5EF4-FFF2-40B4-BE49-F238E27FC236}">
                <a16:creationId xmlns:a16="http://schemas.microsoft.com/office/drawing/2014/main" id="{BFC78B39-C512-544A-9DEA-78930E223F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1000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45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4 Row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AED82FA-6551-4FA0-A0E1-E9DA7D56B4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540" y="1526215"/>
            <a:ext cx="1421753" cy="1065068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EC260005-5BA8-4409-8D35-54AEF30635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31540" y="2765163"/>
            <a:ext cx="1421753" cy="1065068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123EDB7F-1BA2-4801-9346-D64F9B1D54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1540" y="3998010"/>
            <a:ext cx="1421753" cy="1065068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EDA79E4-A82B-44F1-9A78-ED45B2CCE5C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540" y="5265730"/>
            <a:ext cx="1421753" cy="1065068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653BA64-45B3-403D-81C7-82AF92243B4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27710" y="1522336"/>
            <a:ext cx="6684489" cy="10650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2D20334-1F02-4F3C-8BEF-9702EB179FC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027711" y="2765163"/>
            <a:ext cx="6684489" cy="10650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98845FB-C281-4F2E-891F-F785BF1582A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027711" y="3998010"/>
            <a:ext cx="6684489" cy="10650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4E4F0B8-1691-4BF4-94E6-3C45BA9DC25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027711" y="5265730"/>
            <a:ext cx="6684489" cy="10650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4349E4EE-138E-46CB-94FC-6F3EE2E8E78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40501" y="1526215"/>
            <a:ext cx="0" cy="106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2E6DB1EC-0CDB-4D68-8000-5C0346D4D1B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40502" y="2765163"/>
            <a:ext cx="0" cy="106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A04EB1B-AA0B-4EBC-A337-318D2D0613F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40502" y="3998010"/>
            <a:ext cx="0" cy="106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7C312823-ADDB-4761-AA0E-6BD11E4A0EF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40501" y="5265198"/>
            <a:ext cx="0" cy="106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19" name="Graphic 23">
            <a:extLst>
              <a:ext uri="{FF2B5EF4-FFF2-40B4-BE49-F238E27FC236}">
                <a16:creationId xmlns:a16="http://schemas.microsoft.com/office/drawing/2014/main" id="{4392E74F-3085-C047-AE37-850FCF8E87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75875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4 Row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574FAE2A-0D5E-4A1C-B5B3-7AE7058B34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1538" y="1522336"/>
            <a:ext cx="1618158" cy="1065068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BFA2EAFC-2499-4DAF-A982-1C7DE13DD85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31538" y="4019494"/>
            <a:ext cx="1618158" cy="1065068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6F651EBB-9BCA-4DFA-89C9-7AA139ACE4C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1538" y="2770915"/>
            <a:ext cx="1618158" cy="1065068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ECBD0B7E-342A-4738-BD6C-CE332437F02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538" y="5268072"/>
            <a:ext cx="1618158" cy="1065068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85F9372-1681-4544-BF39-FBAB97A792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11020" y="1522336"/>
            <a:ext cx="6401180" cy="10650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F57557D-B083-4F4B-A136-1693F2CB4E7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311021" y="2770915"/>
            <a:ext cx="6401180" cy="10650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B8F41EC-8CD4-4F2C-9CB0-E572219DE55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311021" y="4019494"/>
            <a:ext cx="6401180" cy="10650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7CE4A68-FF19-4CDD-8E9C-68D330571F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311020" y="5268072"/>
            <a:ext cx="6401180" cy="10650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8" name="Graphic 23">
            <a:extLst>
              <a:ext uri="{FF2B5EF4-FFF2-40B4-BE49-F238E27FC236}">
                <a16:creationId xmlns:a16="http://schemas.microsoft.com/office/drawing/2014/main" id="{C8D87621-0AB1-884C-B1C1-16457F2A2A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12491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5 Row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989FF199-B21D-4A3B-BC1C-B52F37A91F3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31540" y="1529893"/>
            <a:ext cx="1421753" cy="872549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84C1807D-728C-49F0-98FD-D4F5A796D1C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1540" y="2506663"/>
            <a:ext cx="1421753" cy="872549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00F43CD0-E432-4C91-A608-034C6C7E2B3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540" y="3492501"/>
            <a:ext cx="1421753" cy="872549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C830BF24-C0C7-4701-A610-0BCA8943D70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31540" y="4478339"/>
            <a:ext cx="1421753" cy="872549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66037D65-4133-410C-828C-94324C32E0D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31540" y="5455963"/>
            <a:ext cx="1421753" cy="878162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DDF1927-EAB1-4B0E-A3E0-2050ACA381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27710" y="1529893"/>
            <a:ext cx="6684489" cy="87859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D11521D-68C6-4C72-848D-5B86E916A95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027711" y="2506663"/>
            <a:ext cx="6684489" cy="87859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46EC709-5EEB-4121-A877-60F5D6AE772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027711" y="3492501"/>
            <a:ext cx="6684489" cy="87859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918E38D-3C96-47C3-B96F-E4B027756C9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027711" y="4478339"/>
            <a:ext cx="6684489" cy="87859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7665631-4ECD-4FCE-9EBD-B2B577CF155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027711" y="5455963"/>
            <a:ext cx="6684489" cy="87859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D2C8AE4E-D4C5-4361-AADC-54D96B9E336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40502" y="1529893"/>
            <a:ext cx="0" cy="8784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FE08C148-3995-47F1-A284-416DA9952C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40502" y="2506663"/>
            <a:ext cx="0" cy="8784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3381474-712A-449E-B5F0-1BF3C44B1E5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40502" y="3492501"/>
            <a:ext cx="0" cy="8784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360C7147-FB41-44A4-8062-BD825508BD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40502" y="4478339"/>
            <a:ext cx="0" cy="8784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7028D34D-8C3C-4538-BE64-03918D2E9DE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940502" y="5455963"/>
            <a:ext cx="0" cy="8784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28" name="Graphic 23">
            <a:extLst>
              <a:ext uri="{FF2B5EF4-FFF2-40B4-BE49-F238E27FC236}">
                <a16:creationId xmlns:a16="http://schemas.microsoft.com/office/drawing/2014/main" id="{46D7F6D7-EF01-FE49-B33E-6FB08E202B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072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-Read/Divider Option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F01A4F9B-757C-4821-A3F5-5B039DE1EFA7}"/>
              </a:ext>
            </a:extLst>
          </p:cNvPr>
          <p:cNvSpPr/>
          <p:nvPr/>
        </p:nvSpPr>
        <p:spPr>
          <a:xfrm>
            <a:off x="4572000" y="0"/>
            <a:ext cx="4572000" cy="68579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786F2D-676B-4748-B2F7-29B6ECA103B7}"/>
              </a:ext>
            </a:extLst>
          </p:cNvPr>
          <p:cNvSpPr/>
          <p:nvPr/>
        </p:nvSpPr>
        <p:spPr>
          <a:xfrm>
            <a:off x="4553701" y="11"/>
            <a:ext cx="198120" cy="6857989"/>
          </a:xfrm>
          <a:prstGeom prst="rect">
            <a:avLst/>
          </a:prstGeom>
          <a:solidFill>
            <a:srgbClr val="00C1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6FCDD06-423E-4BB5-A9E2-DC96D29283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332" y="2945528"/>
            <a:ext cx="2807956" cy="618186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137" y="1447039"/>
            <a:ext cx="3536588" cy="75354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00C1D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8785" y="2412048"/>
            <a:ext cx="3535939" cy="3922077"/>
          </a:xfrm>
        </p:spPr>
        <p:txBody>
          <a:bodyPr/>
          <a:lstStyle>
            <a:lvl1pPr marL="0" indent="0">
              <a:buNone/>
              <a:defRPr>
                <a:solidFill>
                  <a:srgbClr val="00C1D5"/>
                </a:solidFill>
              </a:defRPr>
            </a:lvl1pPr>
            <a:lvl2pPr marL="342900" indent="0">
              <a:buNone/>
              <a:defRPr>
                <a:solidFill>
                  <a:srgbClr val="00C1D5"/>
                </a:solidFill>
              </a:defRPr>
            </a:lvl2pPr>
            <a:lvl3pPr marL="685800" indent="0">
              <a:buNone/>
              <a:defRPr>
                <a:solidFill>
                  <a:srgbClr val="00C1D5"/>
                </a:solidFill>
              </a:defRPr>
            </a:lvl3pPr>
            <a:lvl4pPr marL="1028700" indent="0">
              <a:buNone/>
              <a:defRPr>
                <a:solidFill>
                  <a:srgbClr val="00C1D5"/>
                </a:solidFill>
              </a:defRPr>
            </a:lvl4pPr>
            <a:lvl5pPr marL="1371600" indent="0">
              <a:buNone/>
              <a:defRPr>
                <a:solidFill>
                  <a:srgbClr val="00C1D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Rectangle 16">
            <a:extLst>
              <a:ext uri="{FF2B5EF4-FFF2-40B4-BE49-F238E27FC236}">
                <a16:creationId xmlns:a16="http://schemas.microsoft.com/office/drawing/2014/main" id="{98B119D0-69C8-3A4B-BC12-BA399F627B38}"/>
              </a:ext>
            </a:extLst>
          </p:cNvPr>
          <p:cNvSpPr/>
          <p:nvPr userDrawn="1"/>
        </p:nvSpPr>
        <p:spPr>
          <a:xfrm>
            <a:off x="4572000" y="0"/>
            <a:ext cx="4572000" cy="68579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595BF79C-F635-3648-9AFE-8A8C19A87C24}"/>
              </a:ext>
            </a:extLst>
          </p:cNvPr>
          <p:cNvSpPr/>
          <p:nvPr userDrawn="1"/>
        </p:nvSpPr>
        <p:spPr>
          <a:xfrm>
            <a:off x="4553701" y="11"/>
            <a:ext cx="198120" cy="6857989"/>
          </a:xfrm>
          <a:prstGeom prst="rect">
            <a:avLst/>
          </a:prstGeom>
          <a:solidFill>
            <a:srgbClr val="00C1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Graphic 10">
            <a:extLst>
              <a:ext uri="{FF2B5EF4-FFF2-40B4-BE49-F238E27FC236}">
                <a16:creationId xmlns:a16="http://schemas.microsoft.com/office/drawing/2014/main" id="{017D64F7-B2D5-0443-9D6E-457602E279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332" y="2945528"/>
            <a:ext cx="2807956" cy="61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36646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5 Row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FCAD41AC-9DBD-4107-85AC-EC3957855C8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1538" y="1522857"/>
            <a:ext cx="1618158" cy="872549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C416D33C-150E-4D2E-9C7B-DB8572C94EC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1538" y="2502449"/>
            <a:ext cx="1618158" cy="872549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2F6F9641-EBA8-4DAE-B178-AED6162FF3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31538" y="3489597"/>
            <a:ext cx="1618158" cy="872549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FBAA96C1-8DB5-4C9F-A114-7C1DABE2A01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31538" y="4476746"/>
            <a:ext cx="1618158" cy="872549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02BE2727-4D54-43BD-BDB8-2254F5C51E0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1538" y="5458445"/>
            <a:ext cx="1618158" cy="872549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477C049-6EBE-4FDE-849C-52E9E4A16F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11020" y="1522336"/>
            <a:ext cx="6401180" cy="8725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BAAB35-8EA9-4B2E-AA30-E175D53E86F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311021" y="2502449"/>
            <a:ext cx="6401180" cy="8725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DCD8DD5-63DD-4F90-A030-9148DC261FC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311021" y="3489597"/>
            <a:ext cx="6401180" cy="8725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ED9063F2-7A82-455E-8965-7DD9F67EDC0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311020" y="4476746"/>
            <a:ext cx="6401180" cy="8725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24BDECD-05F9-417B-A919-D5B27003F96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311020" y="5458445"/>
            <a:ext cx="6401180" cy="8725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5" name="Graphic 23">
            <a:extLst>
              <a:ext uri="{FF2B5EF4-FFF2-40B4-BE49-F238E27FC236}">
                <a16:creationId xmlns:a16="http://schemas.microsoft.com/office/drawing/2014/main" id="{C3EC108A-B516-B741-8F76-2152D3501E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10617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6 Box Call 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CB00E123-50AC-4A09-ACB1-1FCF51BCB03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9098" y="1529893"/>
            <a:ext cx="1125036" cy="147318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CF32DE99-60DD-4D9F-B8CC-A3CF764CFE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9098" y="3193467"/>
            <a:ext cx="1125036" cy="147318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2BBF3915-E0A4-4E96-BB45-5DE385B2A03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39098" y="4857041"/>
            <a:ext cx="1125036" cy="147318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2980187F-F90A-4FAE-AAE8-2DC6680506F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627216" y="1529893"/>
            <a:ext cx="1125036" cy="147318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8D151ED5-E0F3-49F2-AB17-842E57B3B59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627216" y="3193467"/>
            <a:ext cx="1125036" cy="147318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E676521E-2710-4207-A28B-B4499B87009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27216" y="4857041"/>
            <a:ext cx="1125036" cy="147318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878CBFB-6E3B-41A6-8BE5-34606A65D31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710317" y="1529893"/>
            <a:ext cx="2806468" cy="14731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3F4E516-F4BE-4D2C-9718-E3580528CDE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710318" y="3193467"/>
            <a:ext cx="2806468" cy="14731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73A89D1-53CB-4698-BFA3-5F698B0B7D2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710318" y="4857041"/>
            <a:ext cx="2806468" cy="14731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B33BA8BF-0E9D-491F-A6F4-2B5588D9FC6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905750" y="1529893"/>
            <a:ext cx="2806468" cy="14731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4FD29C54-C8CF-4CA1-B81D-988ED2A1937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905751" y="3193467"/>
            <a:ext cx="2806468" cy="146562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7232400D-A3CF-48A6-9A90-6D757651DF4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905751" y="4857041"/>
            <a:ext cx="2806468" cy="14731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6B002E11-D191-422C-9CC3-0383CC4F01F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38221" y="1529893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7A6DC4E-7BD8-4A03-85DF-DD62806125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638222" y="3193467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B53ABBD-4FD3-4209-9CE4-91FC9E16E44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638222" y="4857041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CA6EC94D-8E76-4DD1-8006-AAEB5D77BDF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833629" y="1529893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A797BCBC-2B02-4C3F-A1C6-1357DD7ED42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833630" y="3193467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326FC290-E620-4C07-BFCB-2DDC88D5CE1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833630" y="4857041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25" name="Graphic 23">
            <a:extLst>
              <a:ext uri="{FF2B5EF4-FFF2-40B4-BE49-F238E27FC236}">
                <a16:creationId xmlns:a16="http://schemas.microsoft.com/office/drawing/2014/main" id="{D5427D2D-96ED-8B4F-B509-4546963099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95743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3 Row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25426"/>
            <a:ext cx="8280400" cy="8270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F0F4A6C-804F-49E0-83FD-5CF17F52669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1540" y="1526467"/>
            <a:ext cx="1841809" cy="147960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F17FA5F-3167-4AAE-A4B0-52DBE0CFFF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1430" y="1053361"/>
            <a:ext cx="2999960" cy="345754"/>
          </a:xfrm>
        </p:spPr>
        <p:txBody>
          <a:bodyPr anchor="ctr"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9F116F26-1122-466F-9CFC-F3819AC3857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710621" y="1053361"/>
            <a:ext cx="2999960" cy="345754"/>
          </a:xfrm>
        </p:spPr>
        <p:txBody>
          <a:bodyPr anchor="ctr"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E99A347D-9108-40B3-845C-DAED320CF5E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31540" y="3193467"/>
            <a:ext cx="1841809" cy="147960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A6BC08F4-AC24-4F60-A818-FFAAFA10419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31540" y="4849484"/>
            <a:ext cx="1841809" cy="1479600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43133EF-BD50-4D80-8731-27DA6FC37F5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21429" y="1526467"/>
            <a:ext cx="2999953" cy="147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EB19FB7-CF86-411D-B2AF-94A8EBAB734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521429" y="3193467"/>
            <a:ext cx="2999953" cy="147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2935D02-5B80-4279-8ED7-6B20361F8B1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521429" y="4849484"/>
            <a:ext cx="2999953" cy="147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07CB423-A862-44D2-81FE-3432DE1A1C2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712247" y="1526467"/>
            <a:ext cx="2999953" cy="147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E6362E-866C-40C7-82B5-53C5CD6C9E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2247" y="3193467"/>
            <a:ext cx="2999953" cy="147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4076C3F-F647-4E81-9D39-72DBA07CBC96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712247" y="4849484"/>
            <a:ext cx="2999953" cy="147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A172850-9707-4FB0-A68D-FD268EF07F8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401478" y="1526467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F38EF16E-DCBF-46B7-80FF-F3562493B01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401479" y="3193467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4CE3CD03-274E-4417-93D6-53B2348BD86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1479" y="4849484"/>
            <a:ext cx="0" cy="1479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E7B28F5-FAF6-4DF4-94A4-4EDD74C9A39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 rot="16200000">
            <a:off x="4020830" y="-35906"/>
            <a:ext cx="0" cy="29988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8253782D-309D-4DD3-BDAD-DDBD7983241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 rot="16200000">
            <a:off x="7210021" y="-35907"/>
            <a:ext cx="0" cy="29988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30" name="Graphic 23">
            <a:extLst>
              <a:ext uri="{FF2B5EF4-FFF2-40B4-BE49-F238E27FC236}">
                <a16:creationId xmlns:a16="http://schemas.microsoft.com/office/drawing/2014/main" id="{CED887A1-6AC6-8B41-93B4-FC43219A94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5852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4 Row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0F2B-2F98-4297-9B5A-3676C895A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B9DA45AA-428D-45FA-98E1-0592E4A3E56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31540" y="1526215"/>
            <a:ext cx="1841809" cy="1065068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0" name="Text Placeholder 8">
            <a:extLst>
              <a:ext uri="{FF2B5EF4-FFF2-40B4-BE49-F238E27FC236}">
                <a16:creationId xmlns:a16="http://schemas.microsoft.com/office/drawing/2014/main" id="{29EB90DA-B630-4297-B959-1CB6AC298F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1362" y="1053361"/>
            <a:ext cx="2999960" cy="345754"/>
          </a:xfrm>
        </p:spPr>
        <p:txBody>
          <a:bodyPr anchor="ctr"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C07C7D84-628A-4594-A8EF-5E1BA298F44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710621" y="1053361"/>
            <a:ext cx="2999960" cy="345754"/>
          </a:xfrm>
        </p:spPr>
        <p:txBody>
          <a:bodyPr anchor="ctr">
            <a:noAutofit/>
          </a:bodyPr>
          <a:lstStyle>
            <a:lvl1pPr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325A0EF5-3571-41D2-9264-05B0E1A7E1B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1540" y="2765163"/>
            <a:ext cx="1841809" cy="1065068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78DCECB5-A31C-4CEA-9D2F-06257162438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31540" y="4011668"/>
            <a:ext cx="1841809" cy="1065068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" name="Text Placeholder 8">
            <a:extLst>
              <a:ext uri="{FF2B5EF4-FFF2-40B4-BE49-F238E27FC236}">
                <a16:creationId xmlns:a16="http://schemas.microsoft.com/office/drawing/2014/main" id="{7C3FFA0F-BE02-4C95-B263-9E02E0D86B0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31540" y="5265730"/>
            <a:ext cx="1841809" cy="1065068"/>
          </a:xfrm>
        </p:spPr>
        <p:txBody>
          <a:bodyPr anchor="ctr">
            <a:noAutofit/>
          </a:bodyPr>
          <a:lstStyle>
            <a:lvl1pPr algn="l">
              <a:defRPr lang="en-GB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F2AEFE3-2AA7-4686-BF8D-94CBD3CDD2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21429" y="1525470"/>
            <a:ext cx="2999953" cy="10650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3FDA2EA-1F13-43F3-B4A9-580E61EB1B0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521429" y="2765163"/>
            <a:ext cx="2999953" cy="10650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FACADF64-C1D4-46BE-B479-11370712CEB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521429" y="4011668"/>
            <a:ext cx="2999953" cy="10650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E688E1A5-9820-4ACF-9787-E8004D9EED9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2247" y="1518910"/>
            <a:ext cx="2999953" cy="10650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1EF4206-EB0F-4918-BF21-E74187B7CB5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712247" y="2765163"/>
            <a:ext cx="2999953" cy="10650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4221000-67A8-443B-A9EA-4C28647CEDD8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712247" y="4011668"/>
            <a:ext cx="2999953" cy="10650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9177E64-56FD-446C-A4E7-8820CF7D9692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2521369" y="5265730"/>
            <a:ext cx="2999953" cy="10650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D764C3A-759B-439A-B872-51D623944782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712187" y="5265730"/>
            <a:ext cx="2999953" cy="10650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58B14153-CCF5-4652-B7C2-7F0ABBDFC1A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 rot="16200000">
            <a:off x="4020830" y="-35906"/>
            <a:ext cx="0" cy="29988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C4063BAF-1C8C-42C8-8DF4-60389EDDA28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 rot="16200000">
            <a:off x="7210021" y="-35907"/>
            <a:ext cx="0" cy="29988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6A3E9212-F6BA-4A35-863F-B13AC96273A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401478" y="1526215"/>
            <a:ext cx="0" cy="106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19111D38-5132-4C4A-9B2F-F463938BBF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401479" y="2765163"/>
            <a:ext cx="0" cy="106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FEE29F81-17BC-4F30-A37E-11E8CC70036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401479" y="3998010"/>
            <a:ext cx="0" cy="106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D8BA0653-7C5A-4BAC-AB81-F136C6C8D97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401478" y="5265198"/>
            <a:ext cx="0" cy="1065600"/>
          </a:xfr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>
            <a:lvl1pPr>
              <a:defRPr lang="en-GB" sz="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 </a:t>
            </a:r>
          </a:p>
        </p:txBody>
      </p:sp>
      <p:pic>
        <p:nvPicPr>
          <p:cNvPr id="30" name="Graphic 23">
            <a:extLst>
              <a:ext uri="{FF2B5EF4-FFF2-40B4-BE49-F238E27FC236}">
                <a16:creationId xmlns:a16="http://schemas.microsoft.com/office/drawing/2014/main" id="{CF5382A1-B7BE-0147-B379-E407124163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5380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Process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F0D4884-483C-4FF6-B5EF-E8A89F1A5D43}"/>
              </a:ext>
            </a:extLst>
          </p:cNvPr>
          <p:cNvSpPr/>
          <p:nvPr/>
        </p:nvSpPr>
        <p:spPr>
          <a:xfrm>
            <a:off x="891096" y="1520825"/>
            <a:ext cx="3971099" cy="1217255"/>
          </a:xfrm>
          <a:custGeom>
            <a:avLst/>
            <a:gdLst>
              <a:gd name="connsiteX0" fmla="*/ 0 w 3971099"/>
              <a:gd name="connsiteY0" fmla="*/ 0 h 1217255"/>
              <a:gd name="connsiteX1" fmla="*/ 1139190 w 3971099"/>
              <a:gd name="connsiteY1" fmla="*/ 0 h 1217255"/>
              <a:gd name="connsiteX2" fmla="*/ 2356849 w 3971099"/>
              <a:gd name="connsiteY2" fmla="*/ 0 h 1217255"/>
              <a:gd name="connsiteX3" fmla="*/ 3496039 w 3971099"/>
              <a:gd name="connsiteY3" fmla="*/ 0 h 1217255"/>
              <a:gd name="connsiteX4" fmla="*/ 3971099 w 3971099"/>
              <a:gd name="connsiteY4" fmla="*/ 608628 h 1217255"/>
              <a:gd name="connsiteX5" fmla="*/ 3496039 w 3971099"/>
              <a:gd name="connsiteY5" fmla="*/ 1217255 h 1217255"/>
              <a:gd name="connsiteX6" fmla="*/ 2356849 w 3971099"/>
              <a:gd name="connsiteY6" fmla="*/ 1217255 h 1217255"/>
              <a:gd name="connsiteX7" fmla="*/ 1139190 w 3971099"/>
              <a:gd name="connsiteY7" fmla="*/ 1217255 h 1217255"/>
              <a:gd name="connsiteX8" fmla="*/ 0 w 3971099"/>
              <a:gd name="connsiteY8" fmla="*/ 1217255 h 1217255"/>
              <a:gd name="connsiteX9" fmla="*/ 475060 w 3971099"/>
              <a:gd name="connsiteY9" fmla="*/ 608628 h 1217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71099" h="1217255">
                <a:moveTo>
                  <a:pt x="0" y="0"/>
                </a:moveTo>
                <a:lnTo>
                  <a:pt x="1139190" y="0"/>
                </a:lnTo>
                <a:lnTo>
                  <a:pt x="2356849" y="0"/>
                </a:lnTo>
                <a:lnTo>
                  <a:pt x="3496039" y="0"/>
                </a:lnTo>
                <a:lnTo>
                  <a:pt x="3971099" y="608628"/>
                </a:lnTo>
                <a:lnTo>
                  <a:pt x="3496039" y="1217255"/>
                </a:lnTo>
                <a:lnTo>
                  <a:pt x="2356849" y="1217255"/>
                </a:lnTo>
                <a:lnTo>
                  <a:pt x="1139190" y="1217255"/>
                </a:lnTo>
                <a:lnTo>
                  <a:pt x="0" y="1217255"/>
                </a:lnTo>
                <a:lnTo>
                  <a:pt x="475060" y="6086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479DD0-4BF8-467C-9882-FEBF6DB6E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F64F3F2-6B4E-4D48-8ECB-298B1A1FBF7D}"/>
              </a:ext>
            </a:extLst>
          </p:cNvPr>
          <p:cNvSpPr/>
          <p:nvPr/>
        </p:nvSpPr>
        <p:spPr>
          <a:xfrm>
            <a:off x="4655376" y="1520825"/>
            <a:ext cx="3971099" cy="1217255"/>
          </a:xfrm>
          <a:custGeom>
            <a:avLst/>
            <a:gdLst>
              <a:gd name="connsiteX0" fmla="*/ 0 w 3971099"/>
              <a:gd name="connsiteY0" fmla="*/ 0 h 1217255"/>
              <a:gd name="connsiteX1" fmla="*/ 1139190 w 3971099"/>
              <a:gd name="connsiteY1" fmla="*/ 0 h 1217255"/>
              <a:gd name="connsiteX2" fmla="*/ 2356849 w 3971099"/>
              <a:gd name="connsiteY2" fmla="*/ 0 h 1217255"/>
              <a:gd name="connsiteX3" fmla="*/ 3496039 w 3971099"/>
              <a:gd name="connsiteY3" fmla="*/ 0 h 1217255"/>
              <a:gd name="connsiteX4" fmla="*/ 3971099 w 3971099"/>
              <a:gd name="connsiteY4" fmla="*/ 608628 h 1217255"/>
              <a:gd name="connsiteX5" fmla="*/ 3496039 w 3971099"/>
              <a:gd name="connsiteY5" fmla="*/ 1217255 h 1217255"/>
              <a:gd name="connsiteX6" fmla="*/ 2356849 w 3971099"/>
              <a:gd name="connsiteY6" fmla="*/ 1217255 h 1217255"/>
              <a:gd name="connsiteX7" fmla="*/ 1139190 w 3971099"/>
              <a:gd name="connsiteY7" fmla="*/ 1217255 h 1217255"/>
              <a:gd name="connsiteX8" fmla="*/ 0 w 3971099"/>
              <a:gd name="connsiteY8" fmla="*/ 1217255 h 1217255"/>
              <a:gd name="connsiteX9" fmla="*/ 475060 w 3971099"/>
              <a:gd name="connsiteY9" fmla="*/ 608628 h 1217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71099" h="1217255">
                <a:moveTo>
                  <a:pt x="0" y="0"/>
                </a:moveTo>
                <a:lnTo>
                  <a:pt x="1139190" y="0"/>
                </a:lnTo>
                <a:lnTo>
                  <a:pt x="2356849" y="0"/>
                </a:lnTo>
                <a:lnTo>
                  <a:pt x="3496039" y="0"/>
                </a:lnTo>
                <a:lnTo>
                  <a:pt x="3971099" y="608628"/>
                </a:lnTo>
                <a:lnTo>
                  <a:pt x="3496039" y="1217255"/>
                </a:lnTo>
                <a:lnTo>
                  <a:pt x="2356849" y="1217255"/>
                </a:lnTo>
                <a:lnTo>
                  <a:pt x="1139190" y="1217255"/>
                </a:lnTo>
                <a:lnTo>
                  <a:pt x="0" y="1217255"/>
                </a:lnTo>
                <a:lnTo>
                  <a:pt x="475060" y="608628"/>
                </a:lnTo>
                <a:close/>
              </a:path>
            </a:pathLst>
          </a:custGeom>
          <a:solidFill>
            <a:srgbClr val="009A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63F60A9-F0F8-497B-B76D-6DC7533C7E9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405407" y="1580899"/>
            <a:ext cx="2960852" cy="1110513"/>
          </a:xfrm>
        </p:spPr>
        <p:txBody>
          <a:bodyPr anchor="ctr">
            <a:noAutofit/>
          </a:bodyPr>
          <a:lstStyle>
            <a:lvl1pPr algn="ctr">
              <a:defRPr lang="en-GB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6A8E6AC9-C0C9-4776-BFFB-C4ACB87EE56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196840" y="1580899"/>
            <a:ext cx="2960852" cy="1110513"/>
          </a:xfrm>
        </p:spPr>
        <p:txBody>
          <a:bodyPr anchor="ctr">
            <a:noAutofit/>
          </a:bodyPr>
          <a:lstStyle>
            <a:lvl1pPr algn="ctr">
              <a:defRPr lang="en-GB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F207B3B-1596-48A6-A0F2-DF645EB567D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6293" y="2897084"/>
            <a:ext cx="3509966" cy="343765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AEB6217-2B86-46A0-BE8E-06271348F45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655376" y="2897084"/>
            <a:ext cx="3502316" cy="343765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Graphic 23">
            <a:extLst>
              <a:ext uri="{FF2B5EF4-FFF2-40B4-BE49-F238E27FC236}">
                <a16:creationId xmlns:a16="http://schemas.microsoft.com/office/drawing/2014/main" id="{5C64D17B-832A-634C-B8A9-2E38BFD89E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686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Process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B9D27CB8-5F25-44F7-B52B-44490C48D582}"/>
              </a:ext>
            </a:extLst>
          </p:cNvPr>
          <p:cNvSpPr/>
          <p:nvPr/>
        </p:nvSpPr>
        <p:spPr>
          <a:xfrm>
            <a:off x="517525" y="1520825"/>
            <a:ext cx="2831909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rgbClr val="002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91BFCE0-A105-464B-B267-F1B4A3065CC4}"/>
              </a:ext>
            </a:extLst>
          </p:cNvPr>
          <p:cNvSpPr/>
          <p:nvPr/>
        </p:nvSpPr>
        <p:spPr>
          <a:xfrm>
            <a:off x="3137896" y="1520825"/>
            <a:ext cx="2831909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rgbClr val="009A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2BF3A95-65D8-4865-974D-D6A1A3920567}"/>
              </a:ext>
            </a:extLst>
          </p:cNvPr>
          <p:cNvSpPr/>
          <p:nvPr/>
        </p:nvSpPr>
        <p:spPr>
          <a:xfrm>
            <a:off x="5762815" y="1520825"/>
            <a:ext cx="2831909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rgbClr val="89D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479DD0-4BF8-467C-9882-FEBF6DB6E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5336CFD-3574-40C6-93C6-38D52097FCE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96287" y="1580899"/>
            <a:ext cx="1883485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2DA6F3B7-3C17-446F-A194-01B8F4DEE86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607557" y="1580899"/>
            <a:ext cx="1883485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85755CF-0D25-4D8F-A4DC-6EE8CF42ACA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46032" y="1580899"/>
            <a:ext cx="1883485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A41293A-A864-4C31-B9A7-25E4E26938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7526" y="2903007"/>
            <a:ext cx="2362246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777FCD-B5AA-4058-9829-5768C7AC0A2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137896" y="2903007"/>
            <a:ext cx="2362246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4981633-859B-416B-890F-1FABCEB494B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767271" y="2903007"/>
            <a:ext cx="2362246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" name="Graphic 23">
            <a:extLst>
              <a:ext uri="{FF2B5EF4-FFF2-40B4-BE49-F238E27FC236}">
                <a16:creationId xmlns:a16="http://schemas.microsoft.com/office/drawing/2014/main" id="{113BF586-D0D6-9B4D-B0C2-1C9A4BA714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2199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Process_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B9D27CB8-5F25-44F7-B52B-44490C48D582}"/>
              </a:ext>
            </a:extLst>
          </p:cNvPr>
          <p:cNvSpPr/>
          <p:nvPr/>
        </p:nvSpPr>
        <p:spPr>
          <a:xfrm>
            <a:off x="517525" y="1520825"/>
            <a:ext cx="2275715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rgbClr val="002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91BFCE0-A105-464B-B267-F1B4A3065CC4}"/>
              </a:ext>
            </a:extLst>
          </p:cNvPr>
          <p:cNvSpPr/>
          <p:nvPr/>
        </p:nvSpPr>
        <p:spPr>
          <a:xfrm>
            <a:off x="2528680" y="1520825"/>
            <a:ext cx="2275715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rgbClr val="009A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2BF3A95-65D8-4865-974D-D6A1A3920567}"/>
              </a:ext>
            </a:extLst>
          </p:cNvPr>
          <p:cNvSpPr/>
          <p:nvPr/>
        </p:nvSpPr>
        <p:spPr>
          <a:xfrm>
            <a:off x="4539835" y="1520825"/>
            <a:ext cx="2275715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rgbClr val="89D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479DD0-4BF8-467C-9882-FEBF6DB6E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F5AAF90-4C26-4B47-A4C6-66D750275441}"/>
              </a:ext>
            </a:extLst>
          </p:cNvPr>
          <p:cNvSpPr/>
          <p:nvPr/>
        </p:nvSpPr>
        <p:spPr>
          <a:xfrm>
            <a:off x="6550989" y="1520825"/>
            <a:ext cx="2275715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283C58F3-40EB-4524-A41E-89C08416585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27569" y="1592009"/>
            <a:ext cx="1501255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E558CC06-4319-43CD-8EF3-4F242A2AA19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920911" y="1592009"/>
            <a:ext cx="1501255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DFDFFF2A-2B8E-422E-9EE9-C9A3E448E65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940011" y="1592009"/>
            <a:ext cx="1501255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7BA5F8B8-AF32-4D9E-906D-7AD8303E5F4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946709" y="1592009"/>
            <a:ext cx="1501255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E8BD90B-63C9-4F09-8A49-6FDB233AF0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9648" y="2903006"/>
            <a:ext cx="1906073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20C0152-70DE-4E04-8A00-762EB59A912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528680" y="2903007"/>
            <a:ext cx="1906073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EA85372-6BF9-4651-9710-B5802F7C136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539835" y="2903007"/>
            <a:ext cx="1906073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74FAB779-C02D-4DBD-802C-944A25710DAC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550989" y="2903010"/>
            <a:ext cx="1906073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1" name="Graphic 23">
            <a:extLst>
              <a:ext uri="{FF2B5EF4-FFF2-40B4-BE49-F238E27FC236}">
                <a16:creationId xmlns:a16="http://schemas.microsoft.com/office/drawing/2014/main" id="{62FAD4CF-4100-9E43-BFAE-977B1E1E5A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289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Process 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1144C-6B94-4538-92EA-3B4F0BCB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4942" y="6453507"/>
            <a:ext cx="3128391" cy="17081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3AAB-9254-4D6F-9EE2-F526823C5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B9D27CB8-5F25-44F7-B52B-44490C48D582}"/>
              </a:ext>
            </a:extLst>
          </p:cNvPr>
          <p:cNvSpPr/>
          <p:nvPr/>
        </p:nvSpPr>
        <p:spPr>
          <a:xfrm>
            <a:off x="431800" y="1520825"/>
            <a:ext cx="1879931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rgbClr val="002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91BFCE0-A105-464B-B267-F1B4A3065CC4}"/>
              </a:ext>
            </a:extLst>
          </p:cNvPr>
          <p:cNvSpPr/>
          <p:nvPr/>
        </p:nvSpPr>
        <p:spPr>
          <a:xfrm>
            <a:off x="2054690" y="1520825"/>
            <a:ext cx="1879931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rgbClr val="009A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2BF3A95-65D8-4865-974D-D6A1A3920567}"/>
              </a:ext>
            </a:extLst>
          </p:cNvPr>
          <p:cNvSpPr/>
          <p:nvPr/>
        </p:nvSpPr>
        <p:spPr>
          <a:xfrm>
            <a:off x="3677580" y="1520825"/>
            <a:ext cx="1879931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rgbClr val="89D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479DD0-4BF8-467C-9882-FEBF6DB6E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FF5AAF90-4C26-4B47-A4C6-66D750275441}"/>
              </a:ext>
            </a:extLst>
          </p:cNvPr>
          <p:cNvSpPr/>
          <p:nvPr/>
        </p:nvSpPr>
        <p:spPr>
          <a:xfrm>
            <a:off x="5300470" y="1520825"/>
            <a:ext cx="1879931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AD9F98F-41D8-4A13-B5E7-AF53C525041B}"/>
              </a:ext>
            </a:extLst>
          </p:cNvPr>
          <p:cNvSpPr/>
          <p:nvPr/>
        </p:nvSpPr>
        <p:spPr>
          <a:xfrm>
            <a:off x="6923359" y="1520825"/>
            <a:ext cx="1879931" cy="1217255"/>
          </a:xfrm>
          <a:custGeom>
            <a:avLst/>
            <a:gdLst>
              <a:gd name="connsiteX0" fmla="*/ 0 w 2995493"/>
              <a:gd name="connsiteY0" fmla="*/ 0 h 1596409"/>
              <a:gd name="connsiteX1" fmla="*/ 2492991 w 2995493"/>
              <a:gd name="connsiteY1" fmla="*/ 0 h 1596409"/>
              <a:gd name="connsiteX2" fmla="*/ 2995493 w 2995493"/>
              <a:gd name="connsiteY2" fmla="*/ 798205 h 1596409"/>
              <a:gd name="connsiteX3" fmla="*/ 2492991 w 2995493"/>
              <a:gd name="connsiteY3" fmla="*/ 1596409 h 1596409"/>
              <a:gd name="connsiteX4" fmla="*/ 0 w 2995493"/>
              <a:gd name="connsiteY4" fmla="*/ 1596409 h 1596409"/>
              <a:gd name="connsiteX5" fmla="*/ 502502 w 2995493"/>
              <a:gd name="connsiteY5" fmla="*/ 798205 h 1596409"/>
              <a:gd name="connsiteX6" fmla="*/ 0 w 2995493"/>
              <a:gd name="connsiteY6" fmla="*/ 0 h 1596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95493" h="1596409">
                <a:moveTo>
                  <a:pt x="0" y="0"/>
                </a:moveTo>
                <a:lnTo>
                  <a:pt x="2492991" y="0"/>
                </a:lnTo>
                <a:lnTo>
                  <a:pt x="2995493" y="798205"/>
                </a:lnTo>
                <a:lnTo>
                  <a:pt x="2492991" y="1596409"/>
                </a:lnTo>
                <a:lnTo>
                  <a:pt x="0" y="1596409"/>
                </a:lnTo>
                <a:lnTo>
                  <a:pt x="502502" y="798205"/>
                </a:lnTo>
                <a:lnTo>
                  <a:pt x="0" y="0"/>
                </a:lnTo>
                <a:close/>
              </a:path>
            </a:pathLst>
          </a:custGeom>
          <a:solidFill>
            <a:srgbClr val="00C1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8B85BFED-1282-4E80-89DB-8F2F8F622F9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79111" y="1592009"/>
            <a:ext cx="1244006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Text Placeholder 8">
            <a:extLst>
              <a:ext uri="{FF2B5EF4-FFF2-40B4-BE49-F238E27FC236}">
                <a16:creationId xmlns:a16="http://schemas.microsoft.com/office/drawing/2014/main" id="{EAC84279-15A0-489A-89CF-80F885746AE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02001" y="1592009"/>
            <a:ext cx="1244006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1083F65E-5F00-4D50-900C-B31EA08604C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028927" y="1592009"/>
            <a:ext cx="1244006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FA3F206D-4696-4244-B477-537B16BE9CC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669178" y="1592009"/>
            <a:ext cx="1244006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38982DC4-5186-4D00-B2DE-6781255DB1A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292068" y="1592009"/>
            <a:ext cx="1244006" cy="1110513"/>
          </a:xfrm>
        </p:spPr>
        <p:txBody>
          <a:bodyPr anchor="ctr">
            <a:noAutofit/>
          </a:bodyPr>
          <a:lstStyle>
            <a:lvl1pPr algn="ctr"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F7C3935-0A5F-49FB-9D3C-D5BC8FF023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449" y="2903007"/>
            <a:ext cx="1586595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D96D857-657A-44D2-8DB4-4C18D457E4F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2054690" y="2903007"/>
            <a:ext cx="1586595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E8A18AA-4F03-469D-B79D-681F16D49D9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677580" y="2903007"/>
            <a:ext cx="1586595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CA66D32-CB2B-4A72-8BF5-561D3527045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300470" y="2903006"/>
            <a:ext cx="1586595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DF1982A-BEEF-4E2C-A9FA-36ED5648F4B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923359" y="2903006"/>
            <a:ext cx="1586595" cy="34311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5" name="Graphic 23">
            <a:extLst>
              <a:ext uri="{FF2B5EF4-FFF2-40B4-BE49-F238E27FC236}">
                <a16:creationId xmlns:a16="http://schemas.microsoft.com/office/drawing/2014/main" id="{C395FC42-E32B-0442-9A3A-AA95FF7597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3146" y="6453507"/>
            <a:ext cx="822960" cy="18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515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_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CE1830-2AFE-450F-BF81-DC3F35C4F3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 dirty="0"/>
              <a:t>Click icon to add full-slide ima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EFEA5F-8F68-486C-BECD-2B1996EB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8D6434-F6E9-41DA-9B63-02FFB22B0D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BD0666-CE76-433E-B2DD-98FA36748B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816932"/>
            <a:ext cx="3204096" cy="8270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83189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_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CE1830-2AFE-450F-BF81-DC3F35C4F3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 dirty="0"/>
              <a:t>Click icon to add full-slide ima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EFEA5F-8F68-486C-BECD-2B1996EB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onfidential | Month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8D6434-F6E9-41DA-9B63-02FFB22B0D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BD0666-CE76-433E-B2DD-98FA36748B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7086" y="2823840"/>
            <a:ext cx="3204096" cy="8270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17429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-Read/Divider Option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EAD17F-F6B8-4628-803F-D1D64EB957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EAD17F-F6B8-4628-803F-D1D64EB95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D883EAB-0333-4509-9085-8F311778F51D}"/>
              </a:ext>
            </a:extLst>
          </p:cNvPr>
          <p:cNvSpPr/>
          <p:nvPr/>
        </p:nvSpPr>
        <p:spPr>
          <a:xfrm>
            <a:off x="4572000" y="0"/>
            <a:ext cx="4592320" cy="68579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January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DBA09-DC57-4B4D-BB5D-576AB99441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55332" y="2945528"/>
            <a:ext cx="2807956" cy="618186"/>
          </a:xfrm>
          <a:prstGeom prst="rect">
            <a:avLst/>
          </a:prstGeom>
        </p:spPr>
      </p:pic>
      <p:sp>
        <p:nvSpPr>
          <p:cNvPr id="12" name="Title 6">
            <a:extLst>
              <a:ext uri="{FF2B5EF4-FFF2-40B4-BE49-F238E27FC236}">
                <a16:creationId xmlns:a16="http://schemas.microsoft.com/office/drawing/2014/main" id="{C712DE84-AC07-4C98-A343-AC3BF21B8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137" y="1031404"/>
            <a:ext cx="3536588" cy="75354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FB336EB-0129-4CA8-8304-4F08954C82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58785" y="1854414"/>
            <a:ext cx="3535939" cy="4452474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spcAft>
                <a:spcPts val="200"/>
              </a:spcAft>
              <a:buNone/>
              <a:defRPr sz="1400">
                <a:solidFill>
                  <a:schemeClr val="tx2"/>
                </a:solidFill>
              </a:defRPr>
            </a:lvl1pPr>
            <a:lvl2pPr marL="342900" indent="0">
              <a:spcBef>
                <a:spcPts val="200"/>
              </a:spcBef>
              <a:spcAft>
                <a:spcPts val="200"/>
              </a:spcAft>
              <a:buNone/>
              <a:defRPr sz="1100">
                <a:solidFill>
                  <a:schemeClr val="tx2"/>
                </a:solidFill>
              </a:defRPr>
            </a:lvl2pPr>
            <a:lvl3pPr marL="685800" indent="0">
              <a:spcBef>
                <a:spcPts val="200"/>
              </a:spcBef>
              <a:spcAft>
                <a:spcPts val="200"/>
              </a:spcAft>
              <a:buNone/>
              <a:defRPr sz="1050">
                <a:solidFill>
                  <a:schemeClr val="tx2"/>
                </a:solidFill>
              </a:defRPr>
            </a:lvl3pPr>
            <a:lvl4pPr marL="10287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tx2"/>
                </a:solidFill>
              </a:defRPr>
            </a:lvl4pPr>
            <a:lvl5pPr marL="1371600" indent="0">
              <a:spcBef>
                <a:spcPts val="200"/>
              </a:spcBef>
              <a:spcAft>
                <a:spcPts val="200"/>
              </a:spcAft>
              <a:buNone/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aphicFrame>
        <p:nvGraphicFramePr>
          <p:cNvPr id="9" name="Object 1" hidden="1">
            <a:extLst>
              <a:ext uri="{FF2B5EF4-FFF2-40B4-BE49-F238E27FC236}">
                <a16:creationId xmlns:a16="http://schemas.microsoft.com/office/drawing/2014/main" id="{690E8ED6-F5C8-7B45-B4B7-B84E90253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EAD17F-F6B8-4628-803F-D1D64EB95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0">
            <a:extLst>
              <a:ext uri="{FF2B5EF4-FFF2-40B4-BE49-F238E27FC236}">
                <a16:creationId xmlns:a16="http://schemas.microsoft.com/office/drawing/2014/main" id="{7B39889B-2C20-824F-84D0-410D2EB369B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55332" y="2945528"/>
            <a:ext cx="2807956" cy="618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6610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_1/2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D5CD5-E693-4CF1-9E37-D0B5985F8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BA082-3393-40F0-837A-FCF8D23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9F4E22-A8F6-4C11-B81C-A9FA11BA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501" y="1447039"/>
            <a:ext cx="3808803" cy="75354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08D45A-3E24-45C6-B510-CEA8A5D4BA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7501" y="2412048"/>
            <a:ext cx="3808104" cy="392207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E9E1B30-0EA4-4321-906D-606C21A440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6858000"/>
          </a:xfrm>
          <a:ln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3341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91E525-D8AD-4572-8FCC-00BF53D92F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1731" y="1520826"/>
            <a:ext cx="8270469" cy="48133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 Master text styles</a:t>
            </a:r>
          </a:p>
          <a:p>
            <a:pPr marL="342900" marR="0" lvl="1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685800" marR="0" lvl="2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028700" marR="0" lvl="3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1371600" marR="0" lvl="4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67EC8D-C1AC-4EAE-9C7D-2807AAB65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8" y="6453507"/>
            <a:ext cx="3128391" cy="170814"/>
          </a:xfrm>
          <a:prstGeom prst="rect">
            <a:avLst/>
          </a:prstGeom>
        </p:spPr>
        <p:txBody>
          <a:bodyPr vert="horz" lIns="72000" tIns="45720" rIns="91440" bIns="45720" rtlCol="0" anchor="ctr"/>
          <a:lstStyle>
            <a:lvl1pPr marL="0" algn="l" defTabSz="914400" rtl="0" eaLnBrk="1" latinLnBrk="0" hangingPunct="1">
              <a:defRPr lang="en-GB" sz="700" kern="1200" smtClean="0">
                <a:solidFill>
                  <a:srgbClr val="A7A9A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onfidential | Month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418792-9A62-446C-B2F2-7CBE66500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9289" y="6453507"/>
            <a:ext cx="257810" cy="17081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lang="en-GB" sz="700" smtClean="0">
                <a:solidFill>
                  <a:srgbClr val="A7A9A2"/>
                </a:solidFill>
              </a:defRPr>
            </a:lvl1pPr>
          </a:lstStyle>
          <a:p>
            <a:fld id="{FE3A804A-1BC4-4540-9B3B-E2BDF438A82E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AF48D89-9D79-4AC4-8077-AD85265DCA0E}"/>
              </a:ext>
            </a:extLst>
          </p:cNvPr>
          <p:cNvGrpSpPr/>
          <p:nvPr/>
        </p:nvGrpSpPr>
        <p:grpSpPr>
          <a:xfrm>
            <a:off x="-1083326" y="1316258"/>
            <a:ext cx="887105" cy="2068092"/>
            <a:chOff x="-1069075" y="118279"/>
            <a:chExt cx="887105" cy="2068092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478D7ED-6573-4D44-9721-92E4795E992B}"/>
                </a:ext>
              </a:extLst>
            </p:cNvPr>
            <p:cNvSpPr/>
            <p:nvPr/>
          </p:nvSpPr>
          <p:spPr>
            <a:xfrm>
              <a:off x="-896205" y="118279"/>
              <a:ext cx="591406" cy="5914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9F5D44C-7A81-46DE-B695-E75CCCC6091A}"/>
                </a:ext>
              </a:extLst>
            </p:cNvPr>
            <p:cNvSpPr/>
            <p:nvPr/>
          </p:nvSpPr>
          <p:spPr>
            <a:xfrm>
              <a:off x="-605051" y="778832"/>
              <a:ext cx="423081" cy="42308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F57FAED-3C8F-466F-84EB-1E37F9805105}"/>
                </a:ext>
              </a:extLst>
            </p:cNvPr>
            <p:cNvSpPr/>
            <p:nvPr/>
          </p:nvSpPr>
          <p:spPr>
            <a:xfrm>
              <a:off x="-605051" y="1271061"/>
              <a:ext cx="423081" cy="42308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7C2C95B-3A4E-4CE7-92D6-438378E1A897}"/>
                </a:ext>
              </a:extLst>
            </p:cNvPr>
            <p:cNvSpPr/>
            <p:nvPr/>
          </p:nvSpPr>
          <p:spPr>
            <a:xfrm>
              <a:off x="-605051" y="1763290"/>
              <a:ext cx="423081" cy="42308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9B7EE7B-AC37-4E6B-8B20-2FD08AE1ED8F}"/>
                </a:ext>
              </a:extLst>
            </p:cNvPr>
            <p:cNvSpPr/>
            <p:nvPr/>
          </p:nvSpPr>
          <p:spPr>
            <a:xfrm>
              <a:off x="-1069075" y="778832"/>
              <a:ext cx="423081" cy="42308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1A20997-7AEA-40A5-A161-5F4C006230AA}"/>
                </a:ext>
              </a:extLst>
            </p:cNvPr>
            <p:cNvSpPr/>
            <p:nvPr/>
          </p:nvSpPr>
          <p:spPr>
            <a:xfrm>
              <a:off x="-1069075" y="1271062"/>
              <a:ext cx="423081" cy="42308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034A145-69C7-47D3-A64F-74D84542C78D}"/>
                </a:ext>
              </a:extLst>
            </p:cNvPr>
            <p:cNvSpPr/>
            <p:nvPr/>
          </p:nvSpPr>
          <p:spPr>
            <a:xfrm>
              <a:off x="-1069075" y="1757833"/>
              <a:ext cx="423081" cy="423081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CB358B9-4321-493D-B2B2-5AAB379B5840}"/>
              </a:ext>
            </a:extLst>
          </p:cNvPr>
          <p:cNvGrpSpPr/>
          <p:nvPr/>
        </p:nvGrpSpPr>
        <p:grpSpPr>
          <a:xfrm>
            <a:off x="-1083326" y="4109956"/>
            <a:ext cx="887105" cy="1407539"/>
            <a:chOff x="-1069075" y="2911977"/>
            <a:chExt cx="887105" cy="140753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DFAF835-E1A7-4AD6-84D7-5704073858E4}"/>
                </a:ext>
              </a:extLst>
            </p:cNvPr>
            <p:cNvSpPr/>
            <p:nvPr/>
          </p:nvSpPr>
          <p:spPr>
            <a:xfrm>
              <a:off x="-605051" y="2911977"/>
              <a:ext cx="423081" cy="423081"/>
            </a:xfrm>
            <a:prstGeom prst="ellipse">
              <a:avLst/>
            </a:prstGeom>
            <a:solidFill>
              <a:srgbClr val="FF67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D7A1CA0-01EA-4237-A0C2-1342F336B65C}"/>
                </a:ext>
              </a:extLst>
            </p:cNvPr>
            <p:cNvSpPr/>
            <p:nvPr/>
          </p:nvSpPr>
          <p:spPr>
            <a:xfrm>
              <a:off x="-605051" y="3404206"/>
              <a:ext cx="423081" cy="423081"/>
            </a:xfrm>
            <a:prstGeom prst="ellipse">
              <a:avLst/>
            </a:prstGeom>
            <a:solidFill>
              <a:srgbClr val="00C1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40EC7B6-5BFC-47CD-863C-3ADCF39C1D91}"/>
                </a:ext>
              </a:extLst>
            </p:cNvPr>
            <p:cNvSpPr/>
            <p:nvPr/>
          </p:nvSpPr>
          <p:spPr>
            <a:xfrm>
              <a:off x="-605051" y="3896435"/>
              <a:ext cx="423081" cy="423081"/>
            </a:xfrm>
            <a:prstGeom prst="ellipse">
              <a:avLst/>
            </a:prstGeom>
            <a:solidFill>
              <a:srgbClr val="753B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CFB0759-891E-4154-850F-0AEAC7F1717A}"/>
                </a:ext>
              </a:extLst>
            </p:cNvPr>
            <p:cNvSpPr/>
            <p:nvPr/>
          </p:nvSpPr>
          <p:spPr>
            <a:xfrm>
              <a:off x="-1069075" y="2911977"/>
              <a:ext cx="423081" cy="423081"/>
            </a:xfrm>
            <a:prstGeom prst="ellipse">
              <a:avLst/>
            </a:prstGeom>
            <a:solidFill>
              <a:srgbClr val="FBE1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323E38C-D618-4A49-8712-126CB911E979}"/>
                </a:ext>
              </a:extLst>
            </p:cNvPr>
            <p:cNvSpPr/>
            <p:nvPr/>
          </p:nvSpPr>
          <p:spPr>
            <a:xfrm>
              <a:off x="-1069075" y="3404207"/>
              <a:ext cx="423081" cy="42308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982819F9-2326-491B-B9C6-E5710C1FF3F0}"/>
                </a:ext>
              </a:extLst>
            </p:cNvPr>
            <p:cNvSpPr/>
            <p:nvPr/>
          </p:nvSpPr>
          <p:spPr>
            <a:xfrm>
              <a:off x="-1069075" y="3890978"/>
              <a:ext cx="423081" cy="42308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4FB033F-F13D-4693-9C3B-D78F7459BA20}"/>
              </a:ext>
            </a:extLst>
          </p:cNvPr>
          <p:cNvSpPr txBox="1"/>
          <p:nvPr/>
        </p:nvSpPr>
        <p:spPr>
          <a:xfrm>
            <a:off x="-1039082" y="910468"/>
            <a:ext cx="79861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50" dirty="0">
                <a:solidFill>
                  <a:schemeClr val="bg1">
                    <a:lumMod val="65000"/>
                  </a:schemeClr>
                </a:solidFill>
              </a:rPr>
              <a:t>PRIMARY</a:t>
            </a:r>
          </a:p>
          <a:p>
            <a:pPr algn="ctr"/>
            <a:r>
              <a:rPr lang="en-GB" sz="1050" dirty="0">
                <a:solidFill>
                  <a:schemeClr val="bg1">
                    <a:lumMod val="65000"/>
                  </a:schemeClr>
                </a:solidFill>
              </a:rPr>
              <a:t>COLO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3041815-5E30-4852-A568-2D07E45FF57D}"/>
              </a:ext>
            </a:extLst>
          </p:cNvPr>
          <p:cNvSpPr txBox="1"/>
          <p:nvPr/>
        </p:nvSpPr>
        <p:spPr>
          <a:xfrm>
            <a:off x="-1007592" y="3675186"/>
            <a:ext cx="80439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solidFill>
                  <a:schemeClr val="bg1">
                    <a:lumMod val="65000"/>
                  </a:schemeClr>
                </a:solidFill>
              </a:rPr>
              <a:t>ACCENT COLOR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7F93462-EC16-457C-97E6-AB107D3A7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25426"/>
            <a:ext cx="8280400" cy="827088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grpSp>
        <p:nvGrpSpPr>
          <p:cNvPr id="23" name="Group 21">
            <a:extLst>
              <a:ext uri="{FF2B5EF4-FFF2-40B4-BE49-F238E27FC236}">
                <a16:creationId xmlns:a16="http://schemas.microsoft.com/office/drawing/2014/main" id="{8B2632DA-521D-8D4A-8CD6-E6BAB3E97951}"/>
              </a:ext>
            </a:extLst>
          </p:cNvPr>
          <p:cNvGrpSpPr/>
          <p:nvPr userDrawn="1"/>
        </p:nvGrpSpPr>
        <p:grpSpPr>
          <a:xfrm>
            <a:off x="-1083326" y="1316258"/>
            <a:ext cx="887105" cy="2068092"/>
            <a:chOff x="-1069075" y="118279"/>
            <a:chExt cx="887105" cy="2068092"/>
          </a:xfrm>
        </p:grpSpPr>
        <p:sp>
          <p:nvSpPr>
            <p:cNvPr id="24" name="Oval 6">
              <a:extLst>
                <a:ext uri="{FF2B5EF4-FFF2-40B4-BE49-F238E27FC236}">
                  <a16:creationId xmlns:a16="http://schemas.microsoft.com/office/drawing/2014/main" id="{4139F528-2951-7642-BEFD-0CAB32465474}"/>
                </a:ext>
              </a:extLst>
            </p:cNvPr>
            <p:cNvSpPr/>
            <p:nvPr userDrawn="1"/>
          </p:nvSpPr>
          <p:spPr>
            <a:xfrm>
              <a:off x="-896205" y="118279"/>
              <a:ext cx="591406" cy="59140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Oval 7">
              <a:extLst>
                <a:ext uri="{FF2B5EF4-FFF2-40B4-BE49-F238E27FC236}">
                  <a16:creationId xmlns:a16="http://schemas.microsoft.com/office/drawing/2014/main" id="{79A34C47-ACE0-F141-A32B-E236544C795B}"/>
                </a:ext>
              </a:extLst>
            </p:cNvPr>
            <p:cNvSpPr/>
            <p:nvPr userDrawn="1"/>
          </p:nvSpPr>
          <p:spPr>
            <a:xfrm>
              <a:off x="-605051" y="778832"/>
              <a:ext cx="423081" cy="42308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Oval 8">
              <a:extLst>
                <a:ext uri="{FF2B5EF4-FFF2-40B4-BE49-F238E27FC236}">
                  <a16:creationId xmlns:a16="http://schemas.microsoft.com/office/drawing/2014/main" id="{96F801F0-1C4C-D04B-A75C-9BF87485B2FD}"/>
                </a:ext>
              </a:extLst>
            </p:cNvPr>
            <p:cNvSpPr/>
            <p:nvPr userDrawn="1"/>
          </p:nvSpPr>
          <p:spPr>
            <a:xfrm>
              <a:off x="-605051" y="1271061"/>
              <a:ext cx="423081" cy="42308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Oval 9">
              <a:extLst>
                <a:ext uri="{FF2B5EF4-FFF2-40B4-BE49-F238E27FC236}">
                  <a16:creationId xmlns:a16="http://schemas.microsoft.com/office/drawing/2014/main" id="{04166714-35E6-5D41-BE6E-F8C54D24CC5C}"/>
                </a:ext>
              </a:extLst>
            </p:cNvPr>
            <p:cNvSpPr/>
            <p:nvPr userDrawn="1"/>
          </p:nvSpPr>
          <p:spPr>
            <a:xfrm>
              <a:off x="-605051" y="1763290"/>
              <a:ext cx="423081" cy="42308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Oval 10">
              <a:extLst>
                <a:ext uri="{FF2B5EF4-FFF2-40B4-BE49-F238E27FC236}">
                  <a16:creationId xmlns:a16="http://schemas.microsoft.com/office/drawing/2014/main" id="{1FC5BAC8-6FA0-D741-A001-0BA00CC4745A}"/>
                </a:ext>
              </a:extLst>
            </p:cNvPr>
            <p:cNvSpPr/>
            <p:nvPr userDrawn="1"/>
          </p:nvSpPr>
          <p:spPr>
            <a:xfrm>
              <a:off x="-1069075" y="778832"/>
              <a:ext cx="423081" cy="42308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Oval 11">
              <a:extLst>
                <a:ext uri="{FF2B5EF4-FFF2-40B4-BE49-F238E27FC236}">
                  <a16:creationId xmlns:a16="http://schemas.microsoft.com/office/drawing/2014/main" id="{14D1D7AE-E29B-9E4A-8CF5-B9F61977390B}"/>
                </a:ext>
              </a:extLst>
            </p:cNvPr>
            <p:cNvSpPr/>
            <p:nvPr userDrawn="1"/>
          </p:nvSpPr>
          <p:spPr>
            <a:xfrm>
              <a:off x="-1069075" y="1271062"/>
              <a:ext cx="423081" cy="42308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Oval 12">
              <a:extLst>
                <a:ext uri="{FF2B5EF4-FFF2-40B4-BE49-F238E27FC236}">
                  <a16:creationId xmlns:a16="http://schemas.microsoft.com/office/drawing/2014/main" id="{1038ED84-F515-5A4F-9CBE-8167D1C8E72F}"/>
                </a:ext>
              </a:extLst>
            </p:cNvPr>
            <p:cNvSpPr/>
            <p:nvPr userDrawn="1"/>
          </p:nvSpPr>
          <p:spPr>
            <a:xfrm>
              <a:off x="-1069075" y="1757833"/>
              <a:ext cx="423081" cy="423081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31" name="Group 20">
            <a:extLst>
              <a:ext uri="{FF2B5EF4-FFF2-40B4-BE49-F238E27FC236}">
                <a16:creationId xmlns:a16="http://schemas.microsoft.com/office/drawing/2014/main" id="{8C08CAC2-D735-8C47-A749-3EB0A137192B}"/>
              </a:ext>
            </a:extLst>
          </p:cNvPr>
          <p:cNvGrpSpPr/>
          <p:nvPr userDrawn="1"/>
        </p:nvGrpSpPr>
        <p:grpSpPr>
          <a:xfrm>
            <a:off x="-1083326" y="4109956"/>
            <a:ext cx="887105" cy="1407539"/>
            <a:chOff x="-1069075" y="2911977"/>
            <a:chExt cx="887105" cy="1407539"/>
          </a:xfrm>
        </p:grpSpPr>
        <p:sp>
          <p:nvSpPr>
            <p:cNvPr id="32" name="Oval 13">
              <a:extLst>
                <a:ext uri="{FF2B5EF4-FFF2-40B4-BE49-F238E27FC236}">
                  <a16:creationId xmlns:a16="http://schemas.microsoft.com/office/drawing/2014/main" id="{0ACAB000-8DDD-BC49-A643-F3EBECBA377A}"/>
                </a:ext>
              </a:extLst>
            </p:cNvPr>
            <p:cNvSpPr/>
            <p:nvPr userDrawn="1"/>
          </p:nvSpPr>
          <p:spPr>
            <a:xfrm>
              <a:off x="-605051" y="2911977"/>
              <a:ext cx="423081" cy="423081"/>
            </a:xfrm>
            <a:prstGeom prst="ellipse">
              <a:avLst/>
            </a:prstGeom>
            <a:solidFill>
              <a:srgbClr val="FF67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Oval 14">
              <a:extLst>
                <a:ext uri="{FF2B5EF4-FFF2-40B4-BE49-F238E27FC236}">
                  <a16:creationId xmlns:a16="http://schemas.microsoft.com/office/drawing/2014/main" id="{0B4CE9BF-5438-D54C-978F-C8F6CAA826CE}"/>
                </a:ext>
              </a:extLst>
            </p:cNvPr>
            <p:cNvSpPr/>
            <p:nvPr userDrawn="1"/>
          </p:nvSpPr>
          <p:spPr>
            <a:xfrm>
              <a:off x="-605051" y="3404206"/>
              <a:ext cx="423081" cy="423081"/>
            </a:xfrm>
            <a:prstGeom prst="ellipse">
              <a:avLst/>
            </a:prstGeom>
            <a:solidFill>
              <a:srgbClr val="00C1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Oval 15">
              <a:extLst>
                <a:ext uri="{FF2B5EF4-FFF2-40B4-BE49-F238E27FC236}">
                  <a16:creationId xmlns:a16="http://schemas.microsoft.com/office/drawing/2014/main" id="{A3BF63BE-4DC4-B347-BCB5-21251167DE0E}"/>
                </a:ext>
              </a:extLst>
            </p:cNvPr>
            <p:cNvSpPr/>
            <p:nvPr userDrawn="1"/>
          </p:nvSpPr>
          <p:spPr>
            <a:xfrm>
              <a:off x="-605051" y="3896435"/>
              <a:ext cx="423081" cy="423081"/>
            </a:xfrm>
            <a:prstGeom prst="ellipse">
              <a:avLst/>
            </a:prstGeom>
            <a:solidFill>
              <a:srgbClr val="753B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5" name="Oval 16">
              <a:extLst>
                <a:ext uri="{FF2B5EF4-FFF2-40B4-BE49-F238E27FC236}">
                  <a16:creationId xmlns:a16="http://schemas.microsoft.com/office/drawing/2014/main" id="{1F5D7E62-EEBB-9A46-B7E8-2C9BA1FDDE38}"/>
                </a:ext>
              </a:extLst>
            </p:cNvPr>
            <p:cNvSpPr/>
            <p:nvPr userDrawn="1"/>
          </p:nvSpPr>
          <p:spPr>
            <a:xfrm>
              <a:off x="-1069075" y="2911977"/>
              <a:ext cx="423081" cy="423081"/>
            </a:xfrm>
            <a:prstGeom prst="ellipse">
              <a:avLst/>
            </a:prstGeom>
            <a:solidFill>
              <a:srgbClr val="FBE1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6" name="Oval 17">
              <a:extLst>
                <a:ext uri="{FF2B5EF4-FFF2-40B4-BE49-F238E27FC236}">
                  <a16:creationId xmlns:a16="http://schemas.microsoft.com/office/drawing/2014/main" id="{770D9967-29CF-4F42-8D6C-04EFFAF6A064}"/>
                </a:ext>
              </a:extLst>
            </p:cNvPr>
            <p:cNvSpPr/>
            <p:nvPr userDrawn="1"/>
          </p:nvSpPr>
          <p:spPr>
            <a:xfrm>
              <a:off x="-1069075" y="3404207"/>
              <a:ext cx="423081" cy="42308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7" name="Oval 18">
              <a:extLst>
                <a:ext uri="{FF2B5EF4-FFF2-40B4-BE49-F238E27FC236}">
                  <a16:creationId xmlns:a16="http://schemas.microsoft.com/office/drawing/2014/main" id="{5427BB50-D73D-584E-A526-975A89F2B055}"/>
                </a:ext>
              </a:extLst>
            </p:cNvPr>
            <p:cNvSpPr/>
            <p:nvPr userDrawn="1"/>
          </p:nvSpPr>
          <p:spPr>
            <a:xfrm>
              <a:off x="-1069075" y="3890978"/>
              <a:ext cx="423081" cy="42308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8" name="TextBox 3">
            <a:extLst>
              <a:ext uri="{FF2B5EF4-FFF2-40B4-BE49-F238E27FC236}">
                <a16:creationId xmlns:a16="http://schemas.microsoft.com/office/drawing/2014/main" id="{D6702C93-2687-9543-B460-1D7BBB63785F}"/>
              </a:ext>
            </a:extLst>
          </p:cNvPr>
          <p:cNvSpPr txBox="1"/>
          <p:nvPr userDrawn="1"/>
        </p:nvSpPr>
        <p:spPr>
          <a:xfrm>
            <a:off x="-1039082" y="910468"/>
            <a:ext cx="79861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50" dirty="0">
                <a:solidFill>
                  <a:schemeClr val="bg1">
                    <a:lumMod val="65000"/>
                  </a:schemeClr>
                </a:solidFill>
              </a:rPr>
              <a:t>PRIMARY</a:t>
            </a:r>
          </a:p>
          <a:p>
            <a:pPr algn="ctr"/>
            <a:r>
              <a:rPr lang="en-GB" sz="1050" dirty="0">
                <a:solidFill>
                  <a:schemeClr val="bg1">
                    <a:lumMod val="65000"/>
                  </a:schemeClr>
                </a:solidFill>
              </a:rPr>
              <a:t>COLORS</a:t>
            </a:r>
          </a:p>
        </p:txBody>
      </p:sp>
      <p:sp>
        <p:nvSpPr>
          <p:cNvPr id="39" name="TextBox 19">
            <a:extLst>
              <a:ext uri="{FF2B5EF4-FFF2-40B4-BE49-F238E27FC236}">
                <a16:creationId xmlns:a16="http://schemas.microsoft.com/office/drawing/2014/main" id="{640DE76C-1BF7-4042-B52C-EA3336ACE376}"/>
              </a:ext>
            </a:extLst>
          </p:cNvPr>
          <p:cNvSpPr txBox="1"/>
          <p:nvPr userDrawn="1"/>
        </p:nvSpPr>
        <p:spPr>
          <a:xfrm>
            <a:off x="-1007592" y="3675186"/>
            <a:ext cx="80439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solidFill>
                  <a:schemeClr val="bg1">
                    <a:lumMod val="65000"/>
                  </a:schemeClr>
                </a:solidFill>
              </a:rPr>
              <a:t>ACCENT COLORS</a:t>
            </a:r>
          </a:p>
        </p:txBody>
      </p:sp>
    </p:spTree>
    <p:extLst>
      <p:ext uri="{BB962C8B-B14F-4D97-AF65-F5344CB8AC3E}">
        <p14:creationId xmlns:p14="http://schemas.microsoft.com/office/powerpoint/2010/main" val="3771097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9" r:id="rId17"/>
    <p:sldLayoutId id="2147483770" r:id="rId18"/>
    <p:sldLayoutId id="2147483771" r:id="rId19"/>
    <p:sldLayoutId id="2147483660" r:id="rId20"/>
    <p:sldLayoutId id="2147483726" r:id="rId21"/>
    <p:sldLayoutId id="2147483687" r:id="rId22"/>
    <p:sldLayoutId id="2147483690" r:id="rId23"/>
    <p:sldLayoutId id="2147483742" r:id="rId24"/>
    <p:sldLayoutId id="2147483739" r:id="rId25"/>
    <p:sldLayoutId id="2147483743" r:id="rId26"/>
    <p:sldLayoutId id="2147483746" r:id="rId27"/>
    <p:sldLayoutId id="2147483663" r:id="rId28"/>
    <p:sldLayoutId id="2147483676" r:id="rId29"/>
    <p:sldLayoutId id="2147483671" r:id="rId30"/>
    <p:sldLayoutId id="2147483673" r:id="rId31"/>
    <p:sldLayoutId id="2147483672" r:id="rId32"/>
    <p:sldLayoutId id="2147483664" r:id="rId33"/>
    <p:sldLayoutId id="2147483732" r:id="rId34"/>
    <p:sldLayoutId id="2147483696" r:id="rId35"/>
    <p:sldLayoutId id="2147483698" r:id="rId36"/>
    <p:sldLayoutId id="2147483695" r:id="rId37"/>
    <p:sldLayoutId id="2147483659" r:id="rId38"/>
    <p:sldLayoutId id="2147483736" r:id="rId39"/>
    <p:sldLayoutId id="2147483716" r:id="rId40"/>
    <p:sldLayoutId id="2147483814" r:id="rId41"/>
    <p:sldLayoutId id="2147483773" r:id="rId42"/>
    <p:sldLayoutId id="2147483774" r:id="rId43"/>
    <p:sldLayoutId id="2147483775" r:id="rId44"/>
    <p:sldLayoutId id="2147483776" r:id="rId45"/>
    <p:sldLayoutId id="2147483778" r:id="rId46"/>
    <p:sldLayoutId id="2147483780" r:id="rId47"/>
    <p:sldLayoutId id="2147483781" r:id="rId48"/>
    <p:sldLayoutId id="2147483782" r:id="rId49"/>
    <p:sldLayoutId id="2147483783" r:id="rId50"/>
    <p:sldLayoutId id="2147483784" r:id="rId51"/>
    <p:sldLayoutId id="2147483785" r:id="rId52"/>
    <p:sldLayoutId id="2147483786" r:id="rId53"/>
    <p:sldLayoutId id="2147483787" r:id="rId54"/>
    <p:sldLayoutId id="2147483788" r:id="rId55"/>
    <p:sldLayoutId id="2147483789" r:id="rId56"/>
    <p:sldLayoutId id="2147483790" r:id="rId57"/>
    <p:sldLayoutId id="2147483791" r:id="rId58"/>
    <p:sldLayoutId id="2147483792" r:id="rId59"/>
    <p:sldLayoutId id="2147483793" r:id="rId60"/>
    <p:sldLayoutId id="2147483794" r:id="rId61"/>
    <p:sldLayoutId id="2147483795" r:id="rId62"/>
    <p:sldLayoutId id="2147483796" r:id="rId63"/>
    <p:sldLayoutId id="2147483797" r:id="rId64"/>
    <p:sldLayoutId id="2147483798" r:id="rId65"/>
    <p:sldLayoutId id="2147483799" r:id="rId66"/>
    <p:sldLayoutId id="2147483800" r:id="rId67"/>
    <p:sldLayoutId id="2147483801" r:id="rId68"/>
    <p:sldLayoutId id="2147483802" r:id="rId69"/>
    <p:sldLayoutId id="2147483803" r:id="rId70"/>
    <p:sldLayoutId id="2147483804" r:id="rId71"/>
    <p:sldLayoutId id="2147483805" r:id="rId72"/>
    <p:sldLayoutId id="2147483806" r:id="rId73"/>
    <p:sldLayoutId id="2147483807" r:id="rId74"/>
    <p:sldLayoutId id="2147483808" r:id="rId75"/>
    <p:sldLayoutId id="2147483809" r:id="rId76"/>
    <p:sldLayoutId id="2147483810" r:id="rId77"/>
    <p:sldLayoutId id="2147483811" r:id="rId78"/>
    <p:sldLayoutId id="2147483812" r:id="rId79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858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9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42900" marR="0" indent="0" algn="l" defTabSz="6858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685800" marR="0" indent="0" algn="l" defTabSz="6858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028700" marR="0" indent="0" algn="l" defTabSz="6858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371600" marR="0" indent="0" algn="l" defTabSz="6858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272">
          <p15:clr>
            <a:srgbClr val="F26B43"/>
          </p15:clr>
        </p15:guide>
        <p15:guide id="3" pos="5488">
          <p15:clr>
            <a:srgbClr val="F26B43"/>
          </p15:clr>
        </p15:guide>
        <p15:guide id="4" orient="horz" pos="142">
          <p15:clr>
            <a:srgbClr val="F26B43"/>
          </p15:clr>
        </p15:guide>
        <p15:guide id="5" orient="horz" pos="3990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9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A172C056-1C50-4D70-A13C-55990FB71B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143000" y="857250"/>
            <a:ext cx="6858000" cy="51435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691BB32-0512-4057-83B1-0927D6296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 | Month 2018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6B3DED-D3E3-4335-8E2B-4789CCF3F8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1</a:t>
            </a:fld>
            <a:endParaRPr lang="en-GB"/>
          </a:p>
        </p:txBody>
      </p:sp>
      <p:sp>
        <p:nvSpPr>
          <p:cNvPr id="14" name="Callout: Line 13">
            <a:extLst>
              <a:ext uri="{FF2B5EF4-FFF2-40B4-BE49-F238E27FC236}">
                <a16:creationId xmlns:a16="http://schemas.microsoft.com/office/drawing/2014/main" id="{2C8F0536-1CFB-4109-99F5-7C458D4A0157}"/>
              </a:ext>
            </a:extLst>
          </p:cNvPr>
          <p:cNvSpPr/>
          <p:nvPr/>
        </p:nvSpPr>
        <p:spPr>
          <a:xfrm>
            <a:off x="3370729" y="51619"/>
            <a:ext cx="1667367" cy="723827"/>
          </a:xfrm>
          <a:prstGeom prst="borderCallout1">
            <a:avLst>
              <a:gd name="adj1" fmla="val 52275"/>
              <a:gd name="adj2" fmla="val 100432"/>
              <a:gd name="adj3" fmla="val 157682"/>
              <a:gd name="adj4" fmla="val 135039"/>
            </a:avLst>
          </a:prstGeom>
          <a:solidFill>
            <a:schemeClr val="bg1"/>
          </a:solidFill>
          <a:ln w="25400">
            <a:solidFill>
              <a:srgbClr val="FF671F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Plug programming cable into battery port MX2+ PCB</a:t>
            </a:r>
            <a:endParaRPr lang="nl-NL" sz="1200" b="1" dirty="0" err="1">
              <a:solidFill>
                <a:schemeClr val="accent1"/>
              </a:solidFill>
            </a:endParaRP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DE23693B-679B-46E8-9B43-E0D90B754DB1}"/>
              </a:ext>
            </a:extLst>
          </p:cNvPr>
          <p:cNvSpPr/>
          <p:nvPr/>
        </p:nvSpPr>
        <p:spPr>
          <a:xfrm>
            <a:off x="2602167" y="1782906"/>
            <a:ext cx="1759668" cy="1281953"/>
          </a:xfrm>
          <a:prstGeom prst="borderCallout1">
            <a:avLst>
              <a:gd name="adj1" fmla="val 103271"/>
              <a:gd name="adj2" fmla="val 71532"/>
              <a:gd name="adj3" fmla="val 187056"/>
              <a:gd name="adj4" fmla="val 113261"/>
            </a:avLst>
          </a:prstGeom>
          <a:solidFill>
            <a:schemeClr val="bg1"/>
          </a:solidFill>
          <a:ln w="25400">
            <a:solidFill>
              <a:srgbClr val="FF671F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CC-Debugger: Ensure light is green if SD is powered ON. Pressing RESET button will attempt to find SD again</a:t>
            </a:r>
            <a:endParaRPr lang="nl-NL" sz="1200" b="1" dirty="0" err="1">
              <a:solidFill>
                <a:schemeClr val="accent1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13EA9DE-EB8E-4989-97BF-4FA21CB6DDA2}"/>
              </a:ext>
            </a:extLst>
          </p:cNvPr>
          <p:cNvCxnSpPr>
            <a:cxnSpLocks/>
          </p:cNvCxnSpPr>
          <p:nvPr/>
        </p:nvCxnSpPr>
        <p:spPr>
          <a:xfrm>
            <a:off x="3886200" y="3101788"/>
            <a:ext cx="759542" cy="541064"/>
          </a:xfrm>
          <a:prstGeom prst="line">
            <a:avLst/>
          </a:prstGeom>
          <a:ln w="25400">
            <a:solidFill>
              <a:srgbClr val="FF671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llout: Line 17">
            <a:extLst>
              <a:ext uri="{FF2B5EF4-FFF2-40B4-BE49-F238E27FC236}">
                <a16:creationId xmlns:a16="http://schemas.microsoft.com/office/drawing/2014/main" id="{5A4A9C22-84F5-4026-8AAE-553A4342464E}"/>
              </a:ext>
            </a:extLst>
          </p:cNvPr>
          <p:cNvSpPr/>
          <p:nvPr/>
        </p:nvSpPr>
        <p:spPr>
          <a:xfrm>
            <a:off x="4268687" y="5650636"/>
            <a:ext cx="1623617" cy="1155744"/>
          </a:xfrm>
          <a:prstGeom prst="borderCallout1">
            <a:avLst>
              <a:gd name="adj1" fmla="val -1334"/>
              <a:gd name="adj2" fmla="val 51034"/>
              <a:gd name="adj3" fmla="val -121706"/>
              <a:gd name="adj4" fmla="val 96501"/>
            </a:avLst>
          </a:prstGeom>
          <a:solidFill>
            <a:schemeClr val="bg1"/>
          </a:solidFill>
          <a:ln w="25400">
            <a:solidFill>
              <a:srgbClr val="FF671F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USB-Serial cable: Ensure Black, Orange and Yellow cables are connected to programming cable</a:t>
            </a:r>
            <a:endParaRPr lang="nl-NL" sz="1200" b="1" dirty="0" err="1">
              <a:solidFill>
                <a:schemeClr val="accent1"/>
              </a:solidFill>
            </a:endParaRPr>
          </a:p>
        </p:txBody>
      </p:sp>
      <p:sp>
        <p:nvSpPr>
          <p:cNvPr id="20" name="Callout: Line 19">
            <a:extLst>
              <a:ext uri="{FF2B5EF4-FFF2-40B4-BE49-F238E27FC236}">
                <a16:creationId xmlns:a16="http://schemas.microsoft.com/office/drawing/2014/main" id="{21547B0B-6D97-4331-B255-8689B765AA1F}"/>
              </a:ext>
            </a:extLst>
          </p:cNvPr>
          <p:cNvSpPr/>
          <p:nvPr/>
        </p:nvSpPr>
        <p:spPr>
          <a:xfrm>
            <a:off x="2127022" y="3325906"/>
            <a:ext cx="1243707" cy="890975"/>
          </a:xfrm>
          <a:prstGeom prst="borderCallout1">
            <a:avLst>
              <a:gd name="adj1" fmla="val 99365"/>
              <a:gd name="adj2" fmla="val 48465"/>
              <a:gd name="adj3" fmla="val 234465"/>
              <a:gd name="adj4" fmla="val 18582"/>
            </a:avLst>
          </a:prstGeom>
          <a:solidFill>
            <a:schemeClr val="bg1"/>
          </a:solidFill>
          <a:ln w="25400">
            <a:solidFill>
              <a:srgbClr val="FF671F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b="1" dirty="0">
                <a:solidFill>
                  <a:schemeClr val="accent1"/>
                </a:solidFill>
              </a:rPr>
              <a:t>Ensure both USB cables are connected to your computer</a:t>
            </a:r>
            <a:endParaRPr lang="nl-NL" sz="1050" b="1" dirty="0" err="1">
              <a:solidFill>
                <a:schemeClr val="accent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9FB717F-2CD2-4105-8FC1-57B5D1C72EC8}"/>
              </a:ext>
            </a:extLst>
          </p:cNvPr>
          <p:cNvCxnSpPr>
            <a:cxnSpLocks/>
          </p:cNvCxnSpPr>
          <p:nvPr/>
        </p:nvCxnSpPr>
        <p:spPr>
          <a:xfrm>
            <a:off x="2738718" y="4216881"/>
            <a:ext cx="299450" cy="1144158"/>
          </a:xfrm>
          <a:prstGeom prst="line">
            <a:avLst/>
          </a:prstGeom>
          <a:ln w="25400">
            <a:solidFill>
              <a:srgbClr val="FF671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80474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691BB32-0512-4057-83B1-0927D6296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 | Month 2018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6B3DED-D3E3-4335-8E2B-4789CCF3F8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3A804A-1BC4-4540-9B3B-E2BDF438A82E}" type="slidenum">
              <a:rPr lang="en-GB" smtClean="0"/>
              <a:t>2</a:t>
            </a:fld>
            <a:endParaRPr lang="en-GB"/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DE23693B-679B-46E8-9B43-E0D90B754DB1}"/>
              </a:ext>
            </a:extLst>
          </p:cNvPr>
          <p:cNvSpPr/>
          <p:nvPr/>
        </p:nvSpPr>
        <p:spPr>
          <a:xfrm>
            <a:off x="3436446" y="783941"/>
            <a:ext cx="1759668" cy="1281953"/>
          </a:xfrm>
          <a:prstGeom prst="borderCallout1">
            <a:avLst>
              <a:gd name="adj1" fmla="val 99856"/>
              <a:gd name="adj2" fmla="val 50249"/>
              <a:gd name="adj3" fmla="val 141906"/>
              <a:gd name="adj4" fmla="val 50793"/>
            </a:avLst>
          </a:prstGeom>
          <a:solidFill>
            <a:schemeClr val="bg1"/>
          </a:solidFill>
          <a:ln w="25400">
            <a:solidFill>
              <a:srgbClr val="FF671F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If SmartDrive is powered ON and CC-Debugger light is Green you should see this when you press </a:t>
            </a:r>
            <a:r>
              <a:rPr lang="en-US" sz="1200" b="1" i="1" u="sng" dirty="0">
                <a:solidFill>
                  <a:schemeClr val="accent1"/>
                </a:solidFill>
              </a:rPr>
              <a:t>Info</a:t>
            </a:r>
            <a:endParaRPr lang="nl-NL" sz="1200" b="1" u="sng" dirty="0" err="1">
              <a:solidFill>
                <a:schemeClr val="accent1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13EA9DE-EB8E-4989-97BF-4FA21CB6DDA2}"/>
              </a:ext>
            </a:extLst>
          </p:cNvPr>
          <p:cNvCxnSpPr>
            <a:cxnSpLocks/>
          </p:cNvCxnSpPr>
          <p:nvPr/>
        </p:nvCxnSpPr>
        <p:spPr>
          <a:xfrm>
            <a:off x="3886200" y="3101788"/>
            <a:ext cx="759542" cy="541064"/>
          </a:xfrm>
          <a:prstGeom prst="line">
            <a:avLst/>
          </a:prstGeom>
          <a:ln w="25400">
            <a:solidFill>
              <a:srgbClr val="FF671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llout: Line 17">
            <a:extLst>
              <a:ext uri="{FF2B5EF4-FFF2-40B4-BE49-F238E27FC236}">
                <a16:creationId xmlns:a16="http://schemas.microsoft.com/office/drawing/2014/main" id="{5A4A9C22-84F5-4026-8AAE-553A4342464E}"/>
              </a:ext>
            </a:extLst>
          </p:cNvPr>
          <p:cNvSpPr/>
          <p:nvPr/>
        </p:nvSpPr>
        <p:spPr>
          <a:xfrm>
            <a:off x="6545942" y="789667"/>
            <a:ext cx="1623617" cy="1155744"/>
          </a:xfrm>
          <a:prstGeom prst="borderCallout1">
            <a:avLst>
              <a:gd name="adj1" fmla="val 99667"/>
              <a:gd name="adj2" fmla="val 50135"/>
              <a:gd name="adj3" fmla="val 156469"/>
              <a:gd name="adj4" fmla="val 50966"/>
            </a:avLst>
          </a:prstGeom>
          <a:solidFill>
            <a:schemeClr val="bg1"/>
          </a:solidFill>
          <a:ln w="25400">
            <a:solidFill>
              <a:srgbClr val="FF671F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After you press </a:t>
            </a:r>
            <a:r>
              <a:rPr lang="en-US" sz="1200" b="1" i="1" u="sng" dirty="0">
                <a:solidFill>
                  <a:schemeClr val="accent1"/>
                </a:solidFill>
              </a:rPr>
              <a:t>Update</a:t>
            </a:r>
            <a:r>
              <a:rPr lang="en-US" sz="1200" b="1" dirty="0">
                <a:solidFill>
                  <a:schemeClr val="accent1"/>
                </a:solidFill>
              </a:rPr>
              <a:t> it will show this – meaning SmartDrive BLE programming is done</a:t>
            </a:r>
            <a:endParaRPr lang="nl-NL" sz="1200" b="1" dirty="0" err="1">
              <a:solidFill>
                <a:schemeClr val="accent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B402E7-0E14-49F3-A391-05B01B8AD8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4" y="2595680"/>
            <a:ext cx="2736124" cy="196643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EAA8044-2E92-4541-A652-A1A063CB2A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5764" y="2600702"/>
            <a:ext cx="2736125" cy="19664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7DDAFB0-93DB-4E53-B0A6-845498FE01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6195" y="2595680"/>
            <a:ext cx="2743112" cy="1971456"/>
          </a:xfrm>
          <a:prstGeom prst="rect">
            <a:avLst/>
          </a:prstGeom>
        </p:spPr>
      </p:pic>
      <p:sp>
        <p:nvSpPr>
          <p:cNvPr id="19" name="Callout: Line 18">
            <a:extLst>
              <a:ext uri="{FF2B5EF4-FFF2-40B4-BE49-F238E27FC236}">
                <a16:creationId xmlns:a16="http://schemas.microsoft.com/office/drawing/2014/main" id="{523B91F2-2F01-4CEF-B57B-5124A970249D}"/>
              </a:ext>
            </a:extLst>
          </p:cNvPr>
          <p:cNvSpPr/>
          <p:nvPr/>
        </p:nvSpPr>
        <p:spPr>
          <a:xfrm>
            <a:off x="449289" y="783940"/>
            <a:ext cx="1759668" cy="1281953"/>
          </a:xfrm>
          <a:prstGeom prst="borderCallout1">
            <a:avLst>
              <a:gd name="adj1" fmla="val 99856"/>
              <a:gd name="adj2" fmla="val 50249"/>
              <a:gd name="adj3" fmla="val 141906"/>
              <a:gd name="adj4" fmla="val 50793"/>
            </a:avLst>
          </a:prstGeom>
          <a:solidFill>
            <a:schemeClr val="bg1"/>
          </a:solidFill>
          <a:ln w="25400">
            <a:solidFill>
              <a:srgbClr val="FF671F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If CC-Debugger light is Red you will see this when you press </a:t>
            </a:r>
            <a:r>
              <a:rPr lang="en-US" sz="1200" b="1" i="1" u="sng" dirty="0">
                <a:solidFill>
                  <a:schemeClr val="accent1"/>
                </a:solidFill>
              </a:rPr>
              <a:t>Info</a:t>
            </a:r>
            <a:r>
              <a:rPr lang="en-US" sz="1200" b="1" dirty="0">
                <a:solidFill>
                  <a:schemeClr val="accent1"/>
                </a:solidFill>
              </a:rPr>
              <a:t> – make sure SmartDrive is ON and cables are all plugged in properly</a:t>
            </a:r>
            <a:endParaRPr lang="nl-NL" sz="1200" b="1" u="sng" dirty="0" err="1">
              <a:solidFill>
                <a:schemeClr val="accent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6AC2D21-923C-405E-955A-8F9A7A45FDB9}"/>
              </a:ext>
            </a:extLst>
          </p:cNvPr>
          <p:cNvSpPr/>
          <p:nvPr/>
        </p:nvSpPr>
        <p:spPr>
          <a:xfrm>
            <a:off x="2177881" y="2923162"/>
            <a:ext cx="583577" cy="253363"/>
          </a:xfrm>
          <a:prstGeom prst="roundRect">
            <a:avLst/>
          </a:prstGeom>
          <a:noFill/>
          <a:ln w="57150">
            <a:solidFill>
              <a:schemeClr val="accent1">
                <a:lumMod val="75000"/>
                <a:lumOff val="2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chemeClr val="accent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74BB8AC-B60A-4573-889A-C4A8A8B800EA}"/>
              </a:ext>
            </a:extLst>
          </p:cNvPr>
          <p:cNvSpPr/>
          <p:nvPr/>
        </p:nvSpPr>
        <p:spPr>
          <a:xfrm>
            <a:off x="5158312" y="2918520"/>
            <a:ext cx="583577" cy="253363"/>
          </a:xfrm>
          <a:prstGeom prst="roundRect">
            <a:avLst/>
          </a:prstGeom>
          <a:noFill/>
          <a:ln w="57150">
            <a:solidFill>
              <a:schemeClr val="accent1">
                <a:lumMod val="75000"/>
                <a:lumOff val="2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chemeClr val="accent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4DF70FA4-EA3A-48DA-BB79-A435D2011845}"/>
              </a:ext>
            </a:extLst>
          </p:cNvPr>
          <p:cNvSpPr/>
          <p:nvPr/>
        </p:nvSpPr>
        <p:spPr>
          <a:xfrm>
            <a:off x="8153164" y="4308751"/>
            <a:ext cx="583577" cy="253363"/>
          </a:xfrm>
          <a:prstGeom prst="roundRect">
            <a:avLst/>
          </a:prstGeom>
          <a:noFill/>
          <a:ln w="57150">
            <a:solidFill>
              <a:schemeClr val="accent1">
                <a:lumMod val="75000"/>
                <a:lumOff val="2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chemeClr val="accent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5758C79-56B8-4987-ACB3-E18E16C4F36B}"/>
              </a:ext>
            </a:extLst>
          </p:cNvPr>
          <p:cNvCxnSpPr>
            <a:cxnSpLocks/>
          </p:cNvCxnSpPr>
          <p:nvPr/>
        </p:nvCxnSpPr>
        <p:spPr>
          <a:xfrm>
            <a:off x="2215683" y="2061251"/>
            <a:ext cx="291789" cy="857269"/>
          </a:xfrm>
          <a:prstGeom prst="line">
            <a:avLst/>
          </a:prstGeom>
          <a:ln w="25400">
            <a:solidFill>
              <a:srgbClr val="FF671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C39D082-5B96-4717-9689-62E9A9613205}"/>
              </a:ext>
            </a:extLst>
          </p:cNvPr>
          <p:cNvCxnSpPr>
            <a:cxnSpLocks/>
          </p:cNvCxnSpPr>
          <p:nvPr/>
        </p:nvCxnSpPr>
        <p:spPr>
          <a:xfrm>
            <a:off x="5196114" y="2061251"/>
            <a:ext cx="291789" cy="857269"/>
          </a:xfrm>
          <a:prstGeom prst="line">
            <a:avLst/>
          </a:prstGeom>
          <a:ln w="25400">
            <a:solidFill>
              <a:srgbClr val="FF671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08F2D0E-4B4C-4CD7-AFF7-0921170010C2}"/>
              </a:ext>
            </a:extLst>
          </p:cNvPr>
          <p:cNvCxnSpPr>
            <a:cxnSpLocks/>
          </p:cNvCxnSpPr>
          <p:nvPr/>
        </p:nvCxnSpPr>
        <p:spPr>
          <a:xfrm>
            <a:off x="8176545" y="1945411"/>
            <a:ext cx="253986" cy="2320168"/>
          </a:xfrm>
          <a:prstGeom prst="line">
            <a:avLst/>
          </a:prstGeom>
          <a:ln w="25400">
            <a:solidFill>
              <a:srgbClr val="FF671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3926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ermobil-01">
  <a:themeElements>
    <a:clrScheme name="Permobil-01">
      <a:dk1>
        <a:srgbClr val="414042"/>
      </a:dk1>
      <a:lt1>
        <a:srgbClr val="FFFFFF"/>
      </a:lt1>
      <a:dk2>
        <a:srgbClr val="0067A6"/>
      </a:dk2>
      <a:lt2>
        <a:srgbClr val="DCDDDE"/>
      </a:lt2>
      <a:accent1>
        <a:srgbClr val="002855"/>
      </a:accent1>
      <a:accent2>
        <a:srgbClr val="009AC7"/>
      </a:accent2>
      <a:accent3>
        <a:srgbClr val="89D4E3"/>
      </a:accent3>
      <a:accent4>
        <a:srgbClr val="A7A9A2"/>
      </a:accent4>
      <a:accent5>
        <a:srgbClr val="E31C79"/>
      </a:accent5>
      <a:accent6>
        <a:srgbClr val="C4D600"/>
      </a:accent6>
      <a:hlink>
        <a:srgbClr val="FF671F"/>
      </a:hlink>
      <a:folHlink>
        <a:srgbClr val="753BBD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>
            <a:solidFill>
              <a:schemeClr val="accent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1" id="{C8DE2558-03FB-427A-9FD4-84759DC711B8}" vid="{336B5DF9-D5BB-40E8-9661-4B9354A2C1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1</TotalTime>
  <Words>123</Words>
  <Application>Microsoft Office PowerPoint</Application>
  <PresentationFormat>On-screen Show (4:3)</PresentationFormat>
  <Paragraphs>1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Permobil-01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nteren Henk</dc:creator>
  <cp:lastModifiedBy>Emfinger William</cp:lastModifiedBy>
  <cp:revision>7</cp:revision>
  <dcterms:created xsi:type="dcterms:W3CDTF">2018-10-19T06:38:43Z</dcterms:created>
  <dcterms:modified xsi:type="dcterms:W3CDTF">2018-11-01T15:54:38Z</dcterms:modified>
</cp:coreProperties>
</file>